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2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1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257" r:id="rId2"/>
    <p:sldId id="281" r:id="rId3"/>
    <p:sldId id="265" r:id="rId4"/>
    <p:sldId id="266" r:id="rId5"/>
    <p:sldId id="267" r:id="rId6"/>
    <p:sldId id="268" r:id="rId7"/>
    <p:sldId id="262" r:id="rId8"/>
    <p:sldId id="289" r:id="rId9"/>
    <p:sldId id="290" r:id="rId10"/>
    <p:sldId id="291" r:id="rId11"/>
    <p:sldId id="293" r:id="rId12"/>
    <p:sldId id="288" r:id="rId13"/>
  </p:sldIdLst>
  <p:sldSz cx="12192000" cy="6858000"/>
  <p:notesSz cx="6797675" cy="9926638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eřold Tomáš Mgr. M.A." initials="NTMM" lastIdx="12" clrIdx="0">
    <p:extLst>
      <p:ext uri="{19B8F6BF-5375-455C-9EA6-DF929625EA0E}">
        <p15:presenceInfo xmlns:p15="http://schemas.microsoft.com/office/powerpoint/2012/main" userId="S-1-5-21-2013546996-1368335440-1734353810-1811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66CC"/>
    <a:srgbClr val="FF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5" autoAdjust="0"/>
    <p:restoredTop sz="94660"/>
  </p:normalViewPr>
  <p:slideViewPr>
    <p:cSldViewPr snapToGrid="0">
      <p:cViewPr varScale="1">
        <p:scale>
          <a:sx n="119" d="100"/>
          <a:sy n="119" d="100"/>
        </p:scale>
        <p:origin x="84" y="3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18" d="100"/>
        <a:sy n="118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List_aplikace_Microsoft_Excel2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374404947028656"/>
          <c:y val="1.386748844375963E-2"/>
          <c:w val="0.52162934594041177"/>
          <c:h val="0.86378976287578324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Ano, často</c:v>
                </c:pt>
              </c:strCache>
            </c:strRef>
          </c:tx>
          <c:spPr>
            <a:solidFill>
              <a:srgbClr val="135868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1.9315542742518434E-2"/>
                  <c:y val="3.1433660655208495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753057964961323E-2"/>
                      <c:h val="4.5504914407123079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1F78-4619-AC0A-64EDB863CA68}"/>
                </c:ext>
              </c:extLst>
            </c:dLbl>
            <c:dLbl>
              <c:idx val="1"/>
              <c:layout>
                <c:manualLayout>
                  <c:x val="2.1337162040767483E-2"/>
                  <c:y val="2.9076622624359797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F78-4619-AC0A-64EDB863CA68}"/>
                </c:ext>
              </c:extLst>
            </c:dLbl>
            <c:dLbl>
              <c:idx val="2"/>
              <c:layout>
                <c:manualLayout>
                  <c:x val="2.7504081903306651E-2"/>
                  <c:y val="-1.154822712734416E-3"/>
                </c:manualLayout>
              </c:layout>
              <c:numFmt formatCode="#,##0&quot;%&quot;;\-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5721249217935025E-2"/>
                      <c:h val="3.954512256826710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1F78-4619-AC0A-64EDB863CA68}"/>
                </c:ext>
              </c:extLst>
            </c:dLbl>
            <c:dLbl>
              <c:idx val="3"/>
              <c:layout>
                <c:manualLayout>
                  <c:x val="2.3302479906172322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F78-4619-AC0A-64EDB863CA68}"/>
                </c:ext>
              </c:extLst>
            </c:dLbl>
            <c:dLbl>
              <c:idx val="4"/>
              <c:layout>
                <c:manualLayout>
                  <c:x val="1.3363278702225714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1F78-4619-AC0A-64EDB863CA68}"/>
                </c:ext>
              </c:extLst>
            </c:dLbl>
            <c:dLbl>
              <c:idx val="5"/>
              <c:layout>
                <c:manualLayout>
                  <c:x val="1.1454238887622042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1F78-4619-AC0A-64EDB863CA68}"/>
                </c:ext>
              </c:extLst>
            </c:dLbl>
            <c:dLbl>
              <c:idx val="6"/>
              <c:layout>
                <c:manualLayout>
                  <c:x val="1.3757225057833734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1F78-4619-AC0A-64EDB863CA68}"/>
                </c:ext>
              </c:extLst>
            </c:dLbl>
            <c:numFmt formatCode="#,##0&quot;%&quot;;\-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9</c:f>
              <c:strCache>
                <c:ptCount val="8"/>
                <c:pt idx="0">
                  <c:v> Řízení pod vlivem alkoholu nebo jiných návykových látek</c:v>
                </c:pt>
                <c:pt idx="1">
                  <c:v>Předjíždění v nebezpečném/nepřehledném úseku</c:v>
                </c:pt>
                <c:pt idx="2">
                  <c:v>Jízda na červenou</c:v>
                </c:pt>
                <c:pt idx="3">
                  <c:v>Překročení rychlosti o 40 km/h v obci nebo o 50 km/h mimo obec</c:v>
                </c:pt>
                <c:pt idx="4">
                  <c:v>Používání telefonu za jízdy</c:v>
                </c:pt>
                <c:pt idx="5">
                  <c:v>Nedodržování bezpečné vzdálenosti</c:v>
                </c:pt>
                <c:pt idx="6">
                  <c:v>Překročení rychlosti o 20 km/h v obci nebo o 30 km/h mimo obec</c:v>
                </c:pt>
                <c:pt idx="7">
                  <c:v>Překročení rychlosti o více než 5 km/h v obci nebo o méně než 30 km/h mimo obec</c:v>
                </c:pt>
              </c:strCache>
            </c:strRef>
          </c:cat>
          <c:val>
            <c:numRef>
              <c:f>List1!$B$2:$B$9</c:f>
              <c:numCache>
                <c:formatCode>General</c:formatCode>
                <c:ptCount val="8"/>
                <c:pt idx="0">
                  <c:v>1.899</c:v>
                </c:pt>
                <c:pt idx="1">
                  <c:v>2.4049999999999998</c:v>
                </c:pt>
                <c:pt idx="2">
                  <c:v>0.88600000000000001</c:v>
                </c:pt>
                <c:pt idx="3">
                  <c:v>2.6579999999999999</c:v>
                </c:pt>
                <c:pt idx="4">
                  <c:v>3.544</c:v>
                </c:pt>
                <c:pt idx="5">
                  <c:v>3.9239999999999999</c:v>
                </c:pt>
                <c:pt idx="6">
                  <c:v>4.43</c:v>
                </c:pt>
                <c:pt idx="7">
                  <c:v>16.835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F78-4619-AC0A-64EDB863CA68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Ano, ale spíš výjimečně</c:v>
                </c:pt>
              </c:strCache>
            </c:strRef>
          </c:tx>
          <c:spPr>
            <a:solidFill>
              <a:srgbClr val="088285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4.6210967742634355E-2"/>
                  <c:y val="3.1432515906286273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1F78-4619-AC0A-64EDB863CA68}"/>
                </c:ext>
              </c:extLst>
            </c:dLbl>
            <c:dLbl>
              <c:idx val="1"/>
              <c:layout>
                <c:manualLayout>
                  <c:x val="2.515514018055234E-2"/>
                  <c:y val="-2.9076622624359797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1F78-4619-AC0A-64EDB863CA68}"/>
                </c:ext>
              </c:extLst>
            </c:dLbl>
            <c:dLbl>
              <c:idx val="2"/>
              <c:layout>
                <c:manualLayout>
                  <c:x val="3.9097600315936454E-2"/>
                  <c:y val="-1.0661305135291906E-16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1F78-4619-AC0A-64EDB863CA68}"/>
                </c:ext>
              </c:extLst>
            </c:dLbl>
            <c:dLbl>
              <c:idx val="3"/>
              <c:layout>
                <c:manualLayout>
                  <c:x val="2.6726557404451429E-2"/>
                  <c:y val="-5.7623816405645403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1F78-4619-AC0A-64EDB863CA68}"/>
                </c:ext>
              </c:extLst>
            </c:dLbl>
            <c:dLbl>
              <c:idx val="4"/>
              <c:layout>
                <c:manualLayout>
                  <c:x val="2.6726557404451359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1F78-4619-AC0A-64EDB863CA68}"/>
                </c:ext>
              </c:extLst>
            </c:dLbl>
            <c:dLbl>
              <c:idx val="5"/>
              <c:layout>
                <c:manualLayout>
                  <c:x val="2.099943796064041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1F78-4619-AC0A-64EDB863CA68}"/>
                </c:ext>
              </c:extLst>
            </c:dLbl>
            <c:numFmt formatCode="#,##0&quot;%&quot;;\-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A$2:$A$9</c:f>
              <c:strCache>
                <c:ptCount val="8"/>
                <c:pt idx="0">
                  <c:v> Řízení pod vlivem alkoholu nebo jiných návykových látek</c:v>
                </c:pt>
                <c:pt idx="1">
                  <c:v>Předjíždění v nebezpečném/nepřehledném úseku</c:v>
                </c:pt>
                <c:pt idx="2">
                  <c:v>Jízda na červenou</c:v>
                </c:pt>
                <c:pt idx="3">
                  <c:v>Překročení rychlosti o 40 km/h v obci nebo o 50 km/h mimo obec</c:v>
                </c:pt>
                <c:pt idx="4">
                  <c:v>Používání telefonu za jízdy</c:v>
                </c:pt>
                <c:pt idx="5">
                  <c:v>Nedodržování bezpečné vzdálenosti</c:v>
                </c:pt>
                <c:pt idx="6">
                  <c:v>Překročení rychlosti o 20 km/h v obci nebo o 30 km/h mimo obec</c:v>
                </c:pt>
                <c:pt idx="7">
                  <c:v>Překročení rychlosti o více než 5 km/h v obci nebo o méně než 30 km/h mimo obec</c:v>
                </c:pt>
              </c:strCache>
            </c:strRef>
          </c:cat>
          <c:val>
            <c:numRef>
              <c:f>List1!$C$2:$C$9</c:f>
              <c:numCache>
                <c:formatCode>General</c:formatCode>
                <c:ptCount val="8"/>
                <c:pt idx="0">
                  <c:v>4.3040000000000003</c:v>
                </c:pt>
                <c:pt idx="1">
                  <c:v>8.1010000000000009</c:v>
                </c:pt>
                <c:pt idx="2">
                  <c:v>10</c:v>
                </c:pt>
                <c:pt idx="3">
                  <c:v>11.898999999999999</c:v>
                </c:pt>
                <c:pt idx="4">
                  <c:v>33.417999999999999</c:v>
                </c:pt>
                <c:pt idx="5">
                  <c:v>46.709000000000003</c:v>
                </c:pt>
                <c:pt idx="6">
                  <c:v>29.494</c:v>
                </c:pt>
                <c:pt idx="7">
                  <c:v>57.468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1F78-4619-AC0A-64EDB863CA68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Ne, nikdy</c:v>
                </c:pt>
              </c:strCache>
            </c:strRef>
          </c:tx>
          <c:spPr>
            <a:solidFill>
              <a:srgbClr val="262626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3.2453676848262378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1F78-4619-AC0A-64EDB863CA68}"/>
                </c:ext>
              </c:extLst>
            </c:dLbl>
            <c:dLbl>
              <c:idx val="1"/>
              <c:layout>
                <c:manualLayout>
                  <c:x val="1.9090398146036736E-2"/>
                  <c:y val="3.143153568048417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1F78-4619-AC0A-64EDB863CA68}"/>
                </c:ext>
              </c:extLst>
            </c:dLbl>
            <c:dLbl>
              <c:idx val="2"/>
              <c:layout>
                <c:manualLayout>
                  <c:x val="3.2453676848262447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1F78-4619-AC0A-64EDB863CA68}"/>
                </c:ext>
              </c:extLst>
            </c:dLbl>
            <c:numFmt formatCode="#,##0&quot;%&quot;;\-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9</c:f>
              <c:strCache>
                <c:ptCount val="8"/>
                <c:pt idx="0">
                  <c:v> Řízení pod vlivem alkoholu nebo jiných návykových látek</c:v>
                </c:pt>
                <c:pt idx="1">
                  <c:v>Předjíždění v nebezpečném/nepřehledném úseku</c:v>
                </c:pt>
                <c:pt idx="2">
                  <c:v>Jízda na červenou</c:v>
                </c:pt>
                <c:pt idx="3">
                  <c:v>Překročení rychlosti o 40 km/h v obci nebo o 50 km/h mimo obec</c:v>
                </c:pt>
                <c:pt idx="4">
                  <c:v>Používání telefonu za jízdy</c:v>
                </c:pt>
                <c:pt idx="5">
                  <c:v>Nedodržování bezpečné vzdálenosti</c:v>
                </c:pt>
                <c:pt idx="6">
                  <c:v>Překročení rychlosti o 20 km/h v obci nebo o 30 km/h mimo obec</c:v>
                </c:pt>
                <c:pt idx="7">
                  <c:v>Překročení rychlosti o více než 5 km/h v obci nebo o méně než 30 km/h mimo obec</c:v>
                </c:pt>
              </c:strCache>
            </c:strRef>
          </c:cat>
          <c:val>
            <c:numRef>
              <c:f>List1!$D$2:$D$9</c:f>
              <c:numCache>
                <c:formatCode>General</c:formatCode>
                <c:ptCount val="8"/>
                <c:pt idx="0">
                  <c:v>93.796999999999997</c:v>
                </c:pt>
                <c:pt idx="1">
                  <c:v>89.494</c:v>
                </c:pt>
                <c:pt idx="2">
                  <c:v>89.114000000000004</c:v>
                </c:pt>
                <c:pt idx="3">
                  <c:v>85.442999999999998</c:v>
                </c:pt>
                <c:pt idx="4">
                  <c:v>63.037999999999997</c:v>
                </c:pt>
                <c:pt idx="5">
                  <c:v>49.366999999999997</c:v>
                </c:pt>
                <c:pt idx="6">
                  <c:v>66.075999999999993</c:v>
                </c:pt>
                <c:pt idx="7">
                  <c:v>25.696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1F78-4619-AC0A-64EDB863CA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39237824"/>
        <c:axId val="2039234496"/>
      </c:barChart>
      <c:catAx>
        <c:axId val="2039237824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039234496"/>
        <c:crosses val="autoZero"/>
        <c:auto val="1"/>
        <c:lblAlgn val="ctr"/>
        <c:lblOffset val="100"/>
        <c:noMultiLvlLbl val="0"/>
      </c:catAx>
      <c:valAx>
        <c:axId val="2039234496"/>
        <c:scaling>
          <c:orientation val="minMax"/>
          <c:max val="100"/>
        </c:scaling>
        <c:delete val="1"/>
        <c:axPos val="b"/>
        <c:numFmt formatCode="General" sourceLinked="1"/>
        <c:majorTickMark val="out"/>
        <c:minorTickMark val="none"/>
        <c:tickLblPos val="nextTo"/>
        <c:crossAx val="20392378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4.9635035179695509E-2"/>
          <c:y val="0.86556022867504478"/>
          <c:w val="0.62010107689386884"/>
          <c:h val="0.1315321090625193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374404947028656"/>
          <c:y val="1.386748844375963E-2"/>
          <c:w val="0.52162934594041177"/>
          <c:h val="0.86378976287578324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Rozhodně bezpečný</c:v>
                </c:pt>
              </c:strCache>
            </c:strRef>
          </c:tx>
          <c:spPr>
            <a:solidFill>
              <a:srgbClr val="135868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1.9090398146036735E-3"/>
                  <c:y val="3.1431535680485324E-3"/>
                </c:manualLayout>
              </c:layout>
              <c:numFmt formatCode="#,##0&quot;%&quot;;\-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B05-44F1-AF52-133D04F2DAE6}"/>
                </c:ext>
              </c:extLst>
            </c:dLbl>
            <c:dLbl>
              <c:idx val="1"/>
              <c:layout>
                <c:manualLayout>
                  <c:x val="-9.5451990730183681E-3"/>
                  <c:y val="-1.1524763281129081E-16"/>
                </c:manualLayout>
              </c:layout>
              <c:numFmt formatCode="#,##0&quot;%&quot;;\-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98C6-40A0-9296-9889CA8A459F}"/>
                </c:ext>
              </c:extLst>
            </c:dLbl>
            <c:dLbl>
              <c:idx val="2"/>
              <c:layout>
                <c:manualLayout>
                  <c:x val="8.8023117966934215E-3"/>
                  <c:y val="-1.154822712734416E-3"/>
                </c:manualLayout>
              </c:layout>
              <c:numFmt formatCode="#,##0&quot;%&quot;;\-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394307568502555E-2"/>
                      <c:h val="3.954512256826710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911D-45BA-8158-3082026B6CC7}"/>
                </c:ext>
              </c:extLst>
            </c:dLbl>
            <c:dLbl>
              <c:idx val="3"/>
              <c:layout>
                <c:manualLayout>
                  <c:x val="9.5451990730183681E-3"/>
                  <c:y val="-5.7623816405645403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8C6-40A0-9296-9889CA8A459F}"/>
                </c:ext>
              </c:extLst>
            </c:dLbl>
            <c:dLbl>
              <c:idx val="4"/>
              <c:layout>
                <c:manualLayout>
                  <c:x val="1.3363278702225714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8C6-40A0-9296-9889CA8A459F}"/>
                </c:ext>
              </c:extLst>
            </c:dLbl>
            <c:dLbl>
              <c:idx val="5"/>
              <c:layout>
                <c:manualLayout>
                  <c:x val="1.1454238887622042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8C6-40A0-9296-9889CA8A459F}"/>
                </c:ext>
              </c:extLst>
            </c:dLbl>
            <c:dLbl>
              <c:idx val="6"/>
              <c:layout>
                <c:manualLayout>
                  <c:x val="1.1454238887622023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75D-4AA4-AE6A-F77F8DBB9E84}"/>
                </c:ext>
              </c:extLst>
            </c:dLbl>
            <c:numFmt formatCode="#,##0&quot;%&quot;;\-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9</c:f>
              <c:strCache>
                <c:ptCount val="8"/>
                <c:pt idx="0">
                  <c:v> Řízení pod vlivem alkoholu nebo jiných návykových látek</c:v>
                </c:pt>
                <c:pt idx="1">
                  <c:v>Předjíždění v nebezpečném/nepřehledném úseku</c:v>
                </c:pt>
                <c:pt idx="2">
                  <c:v>Jízda na červenou</c:v>
                </c:pt>
                <c:pt idx="3">
                  <c:v>Překročení rychlosti o 40 km/h v obci nebo o 50 km/h mimo obec</c:v>
                </c:pt>
                <c:pt idx="4">
                  <c:v>Používání telefonu za jízdy</c:v>
                </c:pt>
                <c:pt idx="5">
                  <c:v>Nedodržování bezpečné vzdálenosti</c:v>
                </c:pt>
                <c:pt idx="6">
                  <c:v>Překročení rychlosti o 20 km/h v obci nebo o 30 km/h mimo obec</c:v>
                </c:pt>
                <c:pt idx="7">
                  <c:v>Překročení rychlosti o více než 5 km/h v obci nebo o méně než 30 km/h mimo obec</c:v>
                </c:pt>
              </c:strCache>
            </c:strRef>
          </c:cat>
          <c:val>
            <c:numRef>
              <c:f>List1!$B$2:$B$9</c:f>
              <c:numCache>
                <c:formatCode>General</c:formatCode>
                <c:ptCount val="8"/>
                <c:pt idx="0">
                  <c:v>1.0129999999999999</c:v>
                </c:pt>
                <c:pt idx="1">
                  <c:v>0.63300000000000001</c:v>
                </c:pt>
                <c:pt idx="2">
                  <c:v>1.266</c:v>
                </c:pt>
                <c:pt idx="3">
                  <c:v>1.266</c:v>
                </c:pt>
                <c:pt idx="4">
                  <c:v>0.63300000000000001</c:v>
                </c:pt>
                <c:pt idx="5">
                  <c:v>1.5189999999999999</c:v>
                </c:pt>
                <c:pt idx="6">
                  <c:v>2.532</c:v>
                </c:pt>
                <c:pt idx="7">
                  <c:v>8.987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B05-44F1-AF52-133D04F2DAE6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Spíše bezpečný</c:v>
                </c:pt>
              </c:strCache>
            </c:strRef>
          </c:tx>
          <c:spPr>
            <a:solidFill>
              <a:srgbClr val="088285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2.4817517589847755E-2"/>
                  <c:y val="3.1431535680485324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98C6-40A0-9296-9889CA8A459F}"/>
                </c:ext>
              </c:extLst>
            </c:dLbl>
            <c:dLbl>
              <c:idx val="1"/>
              <c:layout>
                <c:manualLayout>
                  <c:x val="1.3363278702225714E-2"/>
                  <c:y val="-1.1524763281129081E-16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98C6-40A0-9296-9889CA8A459F}"/>
                </c:ext>
              </c:extLst>
            </c:dLbl>
            <c:dLbl>
              <c:idx val="2"/>
              <c:layout>
                <c:manualLayout>
                  <c:x val="3.2976483184891638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11D-45BA-8158-3082026B6CC7}"/>
                </c:ext>
              </c:extLst>
            </c:dLbl>
            <c:dLbl>
              <c:idx val="3"/>
              <c:layout>
                <c:manualLayout>
                  <c:x val="2.6726557404451429E-2"/>
                  <c:y val="-5.7623816405645403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8C6-40A0-9296-9889CA8A459F}"/>
                </c:ext>
              </c:extLst>
            </c:dLbl>
            <c:dLbl>
              <c:idx val="4"/>
              <c:layout>
                <c:manualLayout>
                  <c:x val="2.6726557404451359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8C6-40A0-9296-9889CA8A459F}"/>
                </c:ext>
              </c:extLst>
            </c:dLbl>
            <c:dLbl>
              <c:idx val="5"/>
              <c:layout>
                <c:manualLayout>
                  <c:x val="2.099943796064041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8C6-40A0-9296-9889CA8A459F}"/>
                </c:ext>
              </c:extLst>
            </c:dLbl>
            <c:dLbl>
              <c:idx val="6"/>
              <c:layout>
                <c:manualLayout>
                  <c:x val="1.7181358331433062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75D-4AA4-AE6A-F77F8DBB9E84}"/>
                </c:ext>
              </c:extLst>
            </c:dLbl>
            <c:numFmt formatCode="#,##0&quot;%&quot;;\-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A$2:$A$9</c:f>
              <c:strCache>
                <c:ptCount val="8"/>
                <c:pt idx="0">
                  <c:v> Řízení pod vlivem alkoholu nebo jiných návykových látek</c:v>
                </c:pt>
                <c:pt idx="1">
                  <c:v>Předjíždění v nebezpečném/nepřehledném úseku</c:v>
                </c:pt>
                <c:pt idx="2">
                  <c:v>Jízda na červenou</c:v>
                </c:pt>
                <c:pt idx="3">
                  <c:v>Překročení rychlosti o 40 km/h v obci nebo o 50 km/h mimo obec</c:v>
                </c:pt>
                <c:pt idx="4">
                  <c:v>Používání telefonu za jízdy</c:v>
                </c:pt>
                <c:pt idx="5">
                  <c:v>Nedodržování bezpečné vzdálenosti</c:v>
                </c:pt>
                <c:pt idx="6">
                  <c:v>Překročení rychlosti o 20 km/h v obci nebo o 30 km/h mimo obec</c:v>
                </c:pt>
                <c:pt idx="7">
                  <c:v>Překročení rychlosti o více než 5 km/h v obci nebo o méně než 30 km/h mimo obec</c:v>
                </c:pt>
              </c:strCache>
            </c:strRef>
          </c:cat>
          <c:val>
            <c:numRef>
              <c:f>List1!$C$2:$C$9</c:f>
              <c:numCache>
                <c:formatCode>General</c:formatCode>
                <c:ptCount val="8"/>
                <c:pt idx="0">
                  <c:v>1.6459999999999999</c:v>
                </c:pt>
                <c:pt idx="1">
                  <c:v>2.1520000000000001</c:v>
                </c:pt>
                <c:pt idx="2">
                  <c:v>2.6579999999999999</c:v>
                </c:pt>
                <c:pt idx="3">
                  <c:v>4.1769999999999996</c:v>
                </c:pt>
                <c:pt idx="4">
                  <c:v>6.7089999999999996</c:v>
                </c:pt>
                <c:pt idx="5">
                  <c:v>6.4560000000000004</c:v>
                </c:pt>
                <c:pt idx="6">
                  <c:v>10.759</c:v>
                </c:pt>
                <c:pt idx="7">
                  <c:v>35.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B05-44F1-AF52-133D04F2DAE6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Spíše nebezpečný</c:v>
                </c:pt>
              </c:strCache>
            </c:strRef>
          </c:tx>
          <c:spPr>
            <a:solidFill>
              <a:srgbClr val="595959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3.2453676848262378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98C6-40A0-9296-9889CA8A459F}"/>
                </c:ext>
              </c:extLst>
            </c:dLbl>
            <c:dLbl>
              <c:idx val="1"/>
              <c:layout>
                <c:manualLayout>
                  <c:x val="1.9090398146036736E-2"/>
                  <c:y val="3.143153568048417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98C6-40A0-9296-9889CA8A459F}"/>
                </c:ext>
              </c:extLst>
            </c:dLbl>
            <c:dLbl>
              <c:idx val="2"/>
              <c:layout>
                <c:manualLayout>
                  <c:x val="3.2453676848262447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98C6-40A0-9296-9889CA8A459F}"/>
                </c:ext>
              </c:extLst>
            </c:dLbl>
            <c:numFmt formatCode="#,##0&quot;%&quot;;\-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9</c:f>
              <c:strCache>
                <c:ptCount val="8"/>
                <c:pt idx="0">
                  <c:v> Řízení pod vlivem alkoholu nebo jiných návykových látek</c:v>
                </c:pt>
                <c:pt idx="1">
                  <c:v>Předjíždění v nebezpečném/nepřehledném úseku</c:v>
                </c:pt>
                <c:pt idx="2">
                  <c:v>Jízda na červenou</c:v>
                </c:pt>
                <c:pt idx="3">
                  <c:v>Překročení rychlosti o 40 km/h v obci nebo o 50 km/h mimo obec</c:v>
                </c:pt>
                <c:pt idx="4">
                  <c:v>Používání telefonu za jízdy</c:v>
                </c:pt>
                <c:pt idx="5">
                  <c:v>Nedodržování bezpečné vzdálenosti</c:v>
                </c:pt>
                <c:pt idx="6">
                  <c:v>Překročení rychlosti o 20 km/h v obci nebo o 30 km/h mimo obec</c:v>
                </c:pt>
                <c:pt idx="7">
                  <c:v>Překročení rychlosti o více než 5 km/h v obci nebo o méně než 30 km/h mimo obec</c:v>
                </c:pt>
              </c:strCache>
            </c:strRef>
          </c:cat>
          <c:val>
            <c:numRef>
              <c:f>List1!$D$2:$D$9</c:f>
              <c:numCache>
                <c:formatCode>General</c:formatCode>
                <c:ptCount val="8"/>
                <c:pt idx="0">
                  <c:v>7.5949999999999998</c:v>
                </c:pt>
                <c:pt idx="1">
                  <c:v>7.7220000000000004</c:v>
                </c:pt>
                <c:pt idx="2">
                  <c:v>17.975000000000001</c:v>
                </c:pt>
                <c:pt idx="3">
                  <c:v>31.013000000000002</c:v>
                </c:pt>
                <c:pt idx="4">
                  <c:v>36.582000000000001</c:v>
                </c:pt>
                <c:pt idx="5">
                  <c:v>47.975000000000001</c:v>
                </c:pt>
                <c:pt idx="6">
                  <c:v>53.037999999999997</c:v>
                </c:pt>
                <c:pt idx="7">
                  <c:v>47.088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B05-44F1-AF52-133D04F2DAE6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Rozhodně nebezpečný</c:v>
                </c:pt>
              </c:strCache>
            </c:strRef>
          </c:tx>
          <c:spPr>
            <a:solidFill>
              <a:srgbClr val="262626"/>
            </a:solidFill>
            <a:ln>
              <a:noFill/>
            </a:ln>
            <a:effectLst/>
          </c:spPr>
          <c:invertIfNegative val="0"/>
          <c:dLbls>
            <c:dLbl>
              <c:idx val="4"/>
              <c:layout>
                <c:manualLayout>
                  <c:x val="0"/>
                  <c:y val="-3.1431535680485324E-3"/>
                </c:manualLayout>
              </c:layout>
              <c:numFmt formatCode="#,##0&quot;%&quot;;\-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5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B05-44F1-AF52-133D04F2DAE6}"/>
                </c:ext>
              </c:extLst>
            </c:dLbl>
            <c:numFmt formatCode="#,##0&quot;%&quot;;\-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A$2:$A$9</c:f>
              <c:strCache>
                <c:ptCount val="8"/>
                <c:pt idx="0">
                  <c:v> Řízení pod vlivem alkoholu nebo jiných návykových látek</c:v>
                </c:pt>
                <c:pt idx="1">
                  <c:v>Předjíždění v nebezpečném/nepřehledném úseku</c:v>
                </c:pt>
                <c:pt idx="2">
                  <c:v>Jízda na červenou</c:v>
                </c:pt>
                <c:pt idx="3">
                  <c:v>Překročení rychlosti o 40 km/h v obci nebo o 50 km/h mimo obec</c:v>
                </c:pt>
                <c:pt idx="4">
                  <c:v>Používání telefonu za jízdy</c:v>
                </c:pt>
                <c:pt idx="5">
                  <c:v>Nedodržování bezpečné vzdálenosti</c:v>
                </c:pt>
                <c:pt idx="6">
                  <c:v>Překročení rychlosti o 20 km/h v obci nebo o 30 km/h mimo obec</c:v>
                </c:pt>
                <c:pt idx="7">
                  <c:v>Překročení rychlosti o více než 5 km/h v obci nebo o méně než 30 km/h mimo obec</c:v>
                </c:pt>
              </c:strCache>
            </c:strRef>
          </c:cat>
          <c:val>
            <c:numRef>
              <c:f>List1!$E$2:$E$9</c:f>
              <c:numCache>
                <c:formatCode>General</c:formatCode>
                <c:ptCount val="8"/>
                <c:pt idx="0">
                  <c:v>89.747</c:v>
                </c:pt>
                <c:pt idx="1">
                  <c:v>89.494</c:v>
                </c:pt>
                <c:pt idx="2">
                  <c:v>78.100999999999999</c:v>
                </c:pt>
                <c:pt idx="3">
                  <c:v>63.543999999999997</c:v>
                </c:pt>
                <c:pt idx="4">
                  <c:v>56.076000000000001</c:v>
                </c:pt>
                <c:pt idx="5">
                  <c:v>44.051000000000002</c:v>
                </c:pt>
                <c:pt idx="6">
                  <c:v>33.670999999999999</c:v>
                </c:pt>
                <c:pt idx="7">
                  <c:v>8.7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B05-44F1-AF52-133D04F2DA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39237824"/>
        <c:axId val="2039234496"/>
      </c:barChart>
      <c:catAx>
        <c:axId val="2039237824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039234496"/>
        <c:crosses val="autoZero"/>
        <c:auto val="1"/>
        <c:lblAlgn val="ctr"/>
        <c:lblOffset val="100"/>
        <c:noMultiLvlLbl val="0"/>
      </c:catAx>
      <c:valAx>
        <c:axId val="2039234496"/>
        <c:scaling>
          <c:orientation val="minMax"/>
          <c:max val="100"/>
        </c:scaling>
        <c:delete val="1"/>
        <c:axPos val="b"/>
        <c:numFmt formatCode="General" sourceLinked="1"/>
        <c:majorTickMark val="out"/>
        <c:minorTickMark val="none"/>
        <c:tickLblPos val="nextTo"/>
        <c:crossAx val="20392378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4.9635035179695509E-2"/>
          <c:y val="0.86556022867504478"/>
          <c:w val="0.6888265102196014"/>
          <c:h val="0.1315321090625193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4395962262290308"/>
          <c:y val="7.506338443024603E-2"/>
          <c:w val="0.68259144486971901"/>
          <c:h val="0.68243791183072389"/>
        </c:manualLayout>
      </c:layout>
      <c:barChart>
        <c:barDir val="bar"/>
        <c:grouping val="stacked"/>
        <c:varyColors val="0"/>
        <c:ser>
          <c:idx val="2"/>
          <c:order val="0"/>
          <c:tx>
            <c:strRef>
              <c:f>List1!$B$1</c:f>
              <c:strCache>
                <c:ptCount val="1"/>
                <c:pt idx="0">
                  <c:v>Jeden</c:v>
                </c:pt>
              </c:strCache>
            </c:strRef>
          </c:tx>
          <c:spPr>
            <a:solidFill>
              <a:srgbClr val="135868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3586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8BF-4A40-804B-CF64B21E8508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B8BF-4A40-804B-CF64B21E8508}"/>
              </c:ext>
            </c:extLst>
          </c:dPt>
          <c:dLbls>
            <c:numFmt formatCode="#,##0&quot;%&quot;;\-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</c:f>
              <c:strCache>
                <c:ptCount val="2"/>
                <c:pt idx="0">
                  <c:v>Teoretická část</c:v>
                </c:pt>
                <c:pt idx="1">
                  <c:v>Praktická část</c:v>
                </c:pt>
              </c:strCache>
            </c:strRef>
          </c:cat>
          <c:val>
            <c:numRef>
              <c:f>List1!$B$2:$B$3</c:f>
              <c:numCache>
                <c:formatCode>General</c:formatCode>
                <c:ptCount val="2"/>
                <c:pt idx="0">
                  <c:v>7.0890000000000004</c:v>
                </c:pt>
                <c:pt idx="1">
                  <c:v>8.987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DD6-438D-B86C-D401515A3F83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Dva</c:v>
                </c:pt>
              </c:strCache>
            </c:strRef>
          </c:tx>
          <c:spPr>
            <a:solidFill>
              <a:srgbClr val="088285"/>
            </a:solidFill>
            <a:ln>
              <a:noFill/>
            </a:ln>
            <a:effectLst/>
          </c:spPr>
          <c:invertIfNegative val="0"/>
          <c:dLbls>
            <c:numFmt formatCode="#,##0&quot;%&quot;;\-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</c:f>
              <c:strCache>
                <c:ptCount val="2"/>
                <c:pt idx="0">
                  <c:v>Teoretická část</c:v>
                </c:pt>
                <c:pt idx="1">
                  <c:v>Praktická část</c:v>
                </c:pt>
              </c:strCache>
            </c:strRef>
          </c:cat>
          <c:val>
            <c:numRef>
              <c:f>List1!$C$2:$C$3</c:f>
              <c:numCache>
                <c:formatCode>General</c:formatCode>
                <c:ptCount val="2"/>
                <c:pt idx="0">
                  <c:v>24.556999999999999</c:v>
                </c:pt>
                <c:pt idx="1">
                  <c:v>26.582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DD6-438D-B86C-D401515A3F83}"/>
            </c:ext>
          </c:extLst>
        </c:ser>
        <c:ser>
          <c:idx val="0"/>
          <c:order val="2"/>
          <c:tx>
            <c:strRef>
              <c:f>List1!$D$1</c:f>
              <c:strCache>
                <c:ptCount val="1"/>
                <c:pt idx="0">
                  <c:v>Tři</c:v>
                </c:pt>
              </c:strCache>
            </c:strRef>
          </c:tx>
          <c:spPr>
            <a:solidFill>
              <a:srgbClr val="7DBFBB"/>
            </a:solidFill>
            <a:ln>
              <a:noFill/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rgbClr val="7DBF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9DD6-438D-B86C-D401515A3F83}"/>
              </c:ext>
            </c:extLst>
          </c:dPt>
          <c:dLbls>
            <c:numFmt formatCode="#,##0&quot;%&quot;;\-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</c:f>
              <c:strCache>
                <c:ptCount val="2"/>
                <c:pt idx="0">
                  <c:v>Teoretická část</c:v>
                </c:pt>
                <c:pt idx="1">
                  <c:v>Praktická část</c:v>
                </c:pt>
              </c:strCache>
            </c:strRef>
          </c:cat>
          <c:val>
            <c:numRef>
              <c:f>List1!$D$2:$D$3</c:f>
              <c:numCache>
                <c:formatCode>General</c:formatCode>
                <c:ptCount val="2"/>
                <c:pt idx="0">
                  <c:v>53.037999999999997</c:v>
                </c:pt>
                <c:pt idx="1">
                  <c:v>49.366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DD6-438D-B86C-D401515A3F83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Čtyři </c:v>
                </c:pt>
              </c:strCache>
            </c:strRef>
          </c:tx>
          <c:spPr>
            <a:solidFill>
              <a:srgbClr val="595959"/>
            </a:solidFill>
            <a:ln>
              <a:noFill/>
            </a:ln>
            <a:effectLst/>
          </c:spPr>
          <c:invertIfNegative val="0"/>
          <c:dLbls>
            <c:numFmt formatCode="#,##0&quot;%&quot;;\-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</c:f>
              <c:strCache>
                <c:ptCount val="2"/>
                <c:pt idx="0">
                  <c:v>Teoretická část</c:v>
                </c:pt>
                <c:pt idx="1">
                  <c:v>Praktická část</c:v>
                </c:pt>
              </c:strCache>
            </c:strRef>
          </c:cat>
          <c:val>
            <c:numRef>
              <c:f>List1!$E$2:$E$3</c:f>
              <c:numCache>
                <c:formatCode>General</c:formatCode>
                <c:ptCount val="2"/>
                <c:pt idx="0">
                  <c:v>3.9239999999999999</c:v>
                </c:pt>
                <c:pt idx="1">
                  <c:v>4.176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9DD6-438D-B86C-D401515A3F83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Pět</c:v>
                </c:pt>
              </c:strCache>
            </c:strRef>
          </c:tx>
          <c:spPr>
            <a:solidFill>
              <a:srgbClr val="262626"/>
            </a:solidFill>
            <a:ln>
              <a:noFill/>
            </a:ln>
            <a:effectLst/>
          </c:spPr>
          <c:invertIfNegative val="0"/>
          <c:dLbls>
            <c:numFmt formatCode="#,##0&quot;%&quot;;\-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</c:f>
              <c:strCache>
                <c:ptCount val="2"/>
                <c:pt idx="0">
                  <c:v>Teoretická část</c:v>
                </c:pt>
                <c:pt idx="1">
                  <c:v>Praktická část</c:v>
                </c:pt>
              </c:strCache>
            </c:strRef>
          </c:cat>
          <c:val>
            <c:numRef>
              <c:f>List1!$F$2:$F$3</c:f>
              <c:numCache>
                <c:formatCode>General</c:formatCode>
                <c:ptCount val="2"/>
                <c:pt idx="0">
                  <c:v>11.391999999999999</c:v>
                </c:pt>
                <c:pt idx="1">
                  <c:v>10.885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9DD6-438D-B86C-D401515A3F8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149934592"/>
        <c:axId val="37818880"/>
      </c:barChart>
      <c:catAx>
        <c:axId val="14993459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rgbClr val="262626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7818880"/>
        <c:crosses val="autoZero"/>
        <c:auto val="1"/>
        <c:lblAlgn val="ctr"/>
        <c:lblOffset val="100"/>
        <c:noMultiLvlLbl val="0"/>
      </c:catAx>
      <c:valAx>
        <c:axId val="37818880"/>
        <c:scaling>
          <c:orientation val="minMax"/>
          <c:max val="100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1499345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17075867615807852"/>
          <c:y val="0.77013849617458863"/>
          <c:w val="0.77234231447607571"/>
          <c:h val="0.105005071624676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rgbClr val="262626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1"/>
          </a:solidFill>
        </a:defRPr>
      </a:pPr>
      <a:endParaRPr lang="cs-CZ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456055082532716"/>
          <c:y val="2.9206346286079612E-2"/>
          <c:w val="0.65460130695043373"/>
          <c:h val="0.9474941184857774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Rozhodně ne</c:v>
                </c:pt>
              </c:strCache>
            </c:strRef>
          </c:tx>
          <c:spPr>
            <a:solidFill>
              <a:srgbClr val="262626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4.489555244154033E-3"/>
                  <c:y val="-3.5291959975807027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66E-4F3C-BE6F-1AFB34C378F5}"/>
                </c:ext>
              </c:extLst>
            </c:dLbl>
            <c:numFmt formatCode="#,##0&quot;%&quot;;\-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</c:f>
              <c:strCache>
                <c:ptCount val="1"/>
                <c:pt idx="0">
                  <c:v>ZÁJEM O ŠKOLENÍ</c:v>
                </c:pt>
              </c:strCache>
            </c:strRef>
          </c:cat>
          <c:val>
            <c:numRef>
              <c:f>List1!$B$2</c:f>
              <c:numCache>
                <c:formatCode>General</c:formatCode>
                <c:ptCount val="1"/>
                <c:pt idx="0">
                  <c:v>3.5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66E-4F3C-BE6F-1AFB34C378F5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Spíše ne</c:v>
                </c:pt>
              </c:strCache>
            </c:strRef>
          </c:tx>
          <c:spPr>
            <a:solidFill>
              <a:srgbClr val="595959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-1.8253966428799891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D66E-4F3C-BE6F-1AFB34C378F5}"/>
                </c:ext>
              </c:extLst>
            </c:dLbl>
            <c:numFmt formatCode="#,##0&quot;%&quot;;\-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</c:f>
              <c:strCache>
                <c:ptCount val="1"/>
                <c:pt idx="0">
                  <c:v>ZÁJEM O ŠKOLENÍ</c:v>
                </c:pt>
              </c:strCache>
            </c:strRef>
          </c:cat>
          <c:val>
            <c:numRef>
              <c:f>List1!$C$2</c:f>
              <c:numCache>
                <c:formatCode>General</c:formatCode>
                <c:ptCount val="1"/>
                <c:pt idx="0">
                  <c:v>20.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66E-4F3C-BE6F-1AFB34C378F5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Spíše ano</c:v>
                </c:pt>
              </c:strCache>
            </c:strRef>
          </c:tx>
          <c:spPr>
            <a:solidFill>
              <a:srgbClr val="2F8889"/>
            </a:solidFill>
            <a:ln>
              <a:noFill/>
            </a:ln>
            <a:effectLst/>
          </c:spPr>
          <c:invertIfNegative val="0"/>
          <c:dLbls>
            <c:numFmt formatCode="#,##0&quot;%&quot;;\-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</c:f>
              <c:strCache>
                <c:ptCount val="1"/>
                <c:pt idx="0">
                  <c:v>ZÁJEM O ŠKOLENÍ</c:v>
                </c:pt>
              </c:strCache>
            </c:strRef>
          </c:cat>
          <c:val>
            <c:numRef>
              <c:f>List1!$D$2</c:f>
              <c:numCache>
                <c:formatCode>General</c:formatCode>
                <c:ptCount val="1"/>
                <c:pt idx="0">
                  <c:v>47.722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66E-4F3C-BE6F-1AFB34C378F5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Rozhodně ano</c:v>
                </c:pt>
              </c:strCache>
            </c:strRef>
          </c:tx>
          <c:spPr>
            <a:solidFill>
              <a:srgbClr val="135868"/>
            </a:solidFill>
            <a:ln>
              <a:noFill/>
            </a:ln>
            <a:effectLst/>
          </c:spPr>
          <c:invertIfNegative val="0"/>
          <c:dLbls>
            <c:numFmt formatCode="#,##0&quot;%&quot;;\-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</c:f>
              <c:strCache>
                <c:ptCount val="1"/>
                <c:pt idx="0">
                  <c:v>ZÁJEM O ŠKOLENÍ</c:v>
                </c:pt>
              </c:strCache>
            </c:strRef>
          </c:cat>
          <c:val>
            <c:numRef>
              <c:f>List1!$E$2</c:f>
              <c:numCache>
                <c:formatCode>General</c:formatCode>
                <c:ptCount val="1"/>
                <c:pt idx="0">
                  <c:v>28.353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66E-4F3C-BE6F-1AFB34C378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2"/>
        <c:overlap val="100"/>
        <c:axId val="312181855"/>
        <c:axId val="312176863"/>
      </c:barChart>
      <c:catAx>
        <c:axId val="31218185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12176863"/>
        <c:crosses val="autoZero"/>
        <c:auto val="1"/>
        <c:lblAlgn val="ctr"/>
        <c:lblOffset val="100"/>
        <c:noMultiLvlLbl val="0"/>
      </c:catAx>
      <c:valAx>
        <c:axId val="312176863"/>
        <c:scaling>
          <c:orientation val="minMax"/>
          <c:max val="100"/>
        </c:scaling>
        <c:delete val="1"/>
        <c:axPos val="l"/>
        <c:numFmt formatCode="General" sourceLinked="1"/>
        <c:majorTickMark val="out"/>
        <c:minorTickMark val="none"/>
        <c:tickLblPos val="nextTo"/>
        <c:crossAx val="31218185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l"/>
      <c:layout>
        <c:manualLayout>
          <c:xMode val="edge"/>
          <c:yMode val="edge"/>
          <c:x val="1.8296881915505863E-2"/>
          <c:y val="1.8730294340178043E-2"/>
          <c:w val="0.3966949498989023"/>
          <c:h val="0.9535782948553137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E7B50C-AE00-42F0-8C96-3083CB0B07CB}" type="datetimeFigureOut">
              <a:rPr lang="cs-CZ" smtClean="0"/>
              <a:t>03.01.2023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6C154E1-4D02-4C91-B6BB-34DA4AC9F04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5377440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92FE82-496B-4AF3-B7E8-9A9187A2E34E}" type="datetimeFigureOut">
              <a:rPr lang="cs-CZ" smtClean="0"/>
              <a:t>03.01.2023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 smtClean="0"/>
              <a:t>Upravte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24EBA3F-C95E-4867-858A-C1BEF901FC34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568386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598802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sv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smtClean="0"/>
              <a:t>Kliknutím můžete upravit styl předlohy.</a:t>
            </a:r>
            <a:endParaRPr lang="cs-CZ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6432B4-3073-4460-99C3-9B8323DE8E84}" type="datetime1">
              <a:rPr lang="cs-CZ" smtClean="0"/>
              <a:t>03.01.2023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FC1B8A-E97F-4AA2-8719-79CD198E1FB4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6744939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 smtClean="0"/>
              <a:t>Upravte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2DDFDB-0375-4710-96E1-D377659F71DE}" type="datetime1">
              <a:rPr lang="cs-CZ" smtClean="0"/>
              <a:t>03.01.2023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FC1B8A-E97F-4AA2-8719-79CD198E1FB4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586450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 smtClean="0"/>
              <a:t>Upravte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CCF13E-06C3-483C-996E-24F8931AB553}" type="datetime1">
              <a:rPr lang="cs-CZ" smtClean="0"/>
              <a:t>03.01.2023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FC1B8A-E97F-4AA2-8719-79CD198E1FB4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778563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ront pag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orme libre : forme 22">
            <a:extLst>
              <a:ext uri="{FF2B5EF4-FFF2-40B4-BE49-F238E27FC236}">
                <a16:creationId xmlns:a16="http://schemas.microsoft.com/office/drawing/2014/main" id="{3FE04B15-7014-4913-BFC9-8C72F19F2705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rgbClr val="405A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38" name="Forme libre : forme 20">
            <a:extLst>
              <a:ext uri="{FF2B5EF4-FFF2-40B4-BE49-F238E27FC236}">
                <a16:creationId xmlns:a16="http://schemas.microsoft.com/office/drawing/2014/main" id="{456100B8-4A4C-4868-9D90-6769E8D2AA33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rgbClr val="009D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pic>
        <p:nvPicPr>
          <p:cNvPr id="39" name="Graphique 14">
            <a:extLst>
              <a:ext uri="{FF2B5EF4-FFF2-40B4-BE49-F238E27FC236}">
                <a16:creationId xmlns:a16="http://schemas.microsoft.com/office/drawing/2014/main" id="{0002BE8A-F806-4834-B56C-FEA5F8924DF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983372" y="5821836"/>
            <a:ext cx="939784" cy="847524"/>
          </a:xfrm>
          <a:prstGeom prst="rect">
            <a:avLst/>
          </a:prstGeom>
        </p:spPr>
      </p:pic>
      <p:pic>
        <p:nvPicPr>
          <p:cNvPr id="40" name="Image 15" descr="Une image contenant objet&#10;&#10;Description générée automatiquement">
            <a:extLst>
              <a:ext uri="{FF2B5EF4-FFF2-40B4-BE49-F238E27FC236}">
                <a16:creationId xmlns:a16="http://schemas.microsoft.com/office/drawing/2014/main" id="{BB2F81E7-8E1B-4224-8D83-9C6A7FEF55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03071" y="5986848"/>
            <a:ext cx="2802864" cy="649976"/>
          </a:xfrm>
          <a:prstGeom prst="rect">
            <a:avLst/>
          </a:prstGeom>
        </p:spPr>
      </p:pic>
      <p:sp>
        <p:nvSpPr>
          <p:cNvPr id="41" name="Sous-titre 2">
            <a:extLst>
              <a:ext uri="{FF2B5EF4-FFF2-40B4-BE49-F238E27FC236}">
                <a16:creationId xmlns:a16="http://schemas.microsoft.com/office/drawing/2014/main" id="{ED09B6BE-6198-44B1-9142-0B28613D29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 algn="l">
              <a:lnSpc>
                <a:spcPct val="100000"/>
              </a:lnSpc>
              <a:spcBef>
                <a:spcPts val="576"/>
              </a:spcBef>
              <a:buNone/>
              <a:defRPr sz="24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Additional subtitle</a:t>
            </a:r>
          </a:p>
        </p:txBody>
      </p:sp>
      <p:sp>
        <p:nvSpPr>
          <p:cNvPr id="44" name="Espace réservé pour une image  9">
            <a:extLst>
              <a:ext uri="{FF2B5EF4-FFF2-40B4-BE49-F238E27FC236}">
                <a16:creationId xmlns:a16="http://schemas.microsoft.com/office/drawing/2014/main" id="{E256B8E8-F68E-497E-A6CF-14C787B136C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74342" y="5302567"/>
            <a:ext cx="1814925" cy="914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72000">
            <a:normAutofit/>
          </a:bodyPr>
          <a:lstStyle>
            <a:lvl1pPr marL="0" indent="0" algn="ctr">
              <a:lnSpc>
                <a:spcPct val="100000"/>
              </a:lnSpc>
              <a:spcBef>
                <a:spcPts val="264"/>
              </a:spcBef>
              <a:buNone/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USTOMER'S LOGO</a:t>
            </a:r>
          </a:p>
        </p:txBody>
      </p:sp>
      <p:sp>
        <p:nvSpPr>
          <p:cNvPr id="45" name="Espace réservé du texte 8">
            <a:extLst>
              <a:ext uri="{FF2B5EF4-FFF2-40B4-BE49-F238E27FC236}">
                <a16:creationId xmlns:a16="http://schemas.microsoft.com/office/drawing/2014/main" id="{34D87F5E-86BE-4F94-AC25-DBBC5967554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1" y="4014515"/>
            <a:ext cx="7551997" cy="400110"/>
          </a:xfrm>
          <a:prstGeom prst="rect">
            <a:avLst/>
          </a:prstGeom>
        </p:spPr>
        <p:txBody>
          <a:bodyPr wrap="square" lIns="108000">
            <a:spAutoFit/>
          </a:bodyPr>
          <a:lstStyle>
            <a:lvl1pPr marL="0" indent="0">
              <a:lnSpc>
                <a:spcPct val="100000"/>
              </a:lnSpc>
              <a:spcBef>
                <a:spcPts val="480"/>
              </a:spcBef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Name of the speaker</a:t>
            </a:r>
          </a:p>
        </p:txBody>
      </p:sp>
      <p:cxnSp>
        <p:nvCxnSpPr>
          <p:cNvPr id="46" name="Connecteur droit 26">
            <a:extLst>
              <a:ext uri="{FF2B5EF4-FFF2-40B4-BE49-F238E27FC236}">
                <a16:creationId xmlns:a16="http://schemas.microsoft.com/office/drawing/2014/main" id="{D919C3F5-58B8-482D-BEAA-A218DE89B9C2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itre 1">
            <a:extLst>
              <a:ext uri="{FF2B5EF4-FFF2-40B4-BE49-F238E27FC236}">
                <a16:creationId xmlns:a16="http://schemas.microsoft.com/office/drawing/2014/main" id="{A4F0AD09-6A63-48F7-AAAE-03F1B970289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  <a:prstGeom prst="rect">
            <a:avLst/>
          </a:prstGeo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en-GB" noProof="0"/>
              <a:t>Presentation title</a:t>
            </a:r>
          </a:p>
        </p:txBody>
      </p:sp>
      <p:sp>
        <p:nvSpPr>
          <p:cNvPr id="13" name="Espace réservé du texte 8">
            <a:extLst>
              <a:ext uri="{FF2B5EF4-FFF2-40B4-BE49-F238E27FC236}">
                <a16:creationId xmlns:a16="http://schemas.microsoft.com/office/drawing/2014/main" id="{D957F4FB-9556-4942-8182-7B7F45D32B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9131" y="4458258"/>
            <a:ext cx="7551997" cy="307777"/>
          </a:xfrm>
          <a:prstGeom prst="rect">
            <a:avLst/>
          </a:prstGeom>
        </p:spPr>
        <p:txBody>
          <a:bodyPr wrap="square" lIns="108000">
            <a:spAutoFit/>
          </a:bodyPr>
          <a:lstStyle>
            <a:lvl1pPr>
              <a:lnSpc>
                <a:spcPct val="100000"/>
              </a:lnSpc>
              <a:spcBef>
                <a:spcPts val="336"/>
              </a:spcBef>
              <a:buFontTx/>
              <a:buNone/>
              <a:defRPr lang="en-GB" sz="1400" dirty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marL="0" lvl="0" indent="0">
              <a:buNone/>
            </a:pPr>
            <a:r>
              <a:rPr lang="en-GB" noProof="0"/>
              <a:t>Date</a:t>
            </a:r>
          </a:p>
        </p:txBody>
      </p:sp>
      <p:sp>
        <p:nvSpPr>
          <p:cNvPr id="15" name="Cadre 7">
            <a:extLst>
              <a:ext uri="{FF2B5EF4-FFF2-40B4-BE49-F238E27FC236}">
                <a16:creationId xmlns:a16="http://schemas.microsoft.com/office/drawing/2014/main" id="{A6078041-4AB4-ED4C-876C-764ACD6FF22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65477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_headlin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ástupný text 11">
            <a:extLst>
              <a:ext uri="{FF2B5EF4-FFF2-40B4-BE49-F238E27FC236}">
                <a16:creationId xmlns:a16="http://schemas.microsoft.com/office/drawing/2014/main" id="{D75B9138-CC83-4560-8013-7172DC0AD3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591" y="626028"/>
            <a:ext cx="11934000" cy="64238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Headline</a:t>
            </a:r>
          </a:p>
        </p:txBody>
      </p:sp>
      <p:sp>
        <p:nvSpPr>
          <p:cNvPr id="9" name="Zástupný symbol pro číslo snímku 5">
            <a:extLst>
              <a:ext uri="{FF2B5EF4-FFF2-40B4-BE49-F238E27FC236}">
                <a16:creationId xmlns:a16="http://schemas.microsoft.com/office/drawing/2014/main" id="{FDBD8B65-002E-457B-81D4-568AF849A79C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1" name="Zástupný nadpis 1">
            <a:extLst>
              <a:ext uri="{FF2B5EF4-FFF2-40B4-BE49-F238E27FC236}">
                <a16:creationId xmlns:a16="http://schemas.microsoft.com/office/drawing/2014/main" id="{FB7DCFB9-985E-43F8-BAC9-BD2F23ADF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37205418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 smtClean="0"/>
              <a:t>Upravte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A70C87-4D4F-4574-9DB4-9F4C9A56911F}" type="datetime1">
              <a:rPr lang="cs-CZ" smtClean="0"/>
              <a:t>03.01.2023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FC1B8A-E97F-4AA2-8719-79CD198E1FB4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8662943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smtClean="0"/>
              <a:t>Upravte styly předlohy textu.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F2CAF-EDF8-432C-89EA-62633ECE5118}" type="datetime1">
              <a:rPr lang="cs-CZ" smtClean="0"/>
              <a:t>03.01.2023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FC1B8A-E97F-4AA2-8719-79CD198E1FB4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109971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 smtClean="0"/>
              <a:t>Upravte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 smtClean="0"/>
              <a:t>Upravte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86CB9C-1958-457B-B36B-3F4A1D498CDF}" type="datetime1">
              <a:rPr lang="cs-CZ" smtClean="0"/>
              <a:t>03.01.2023</a:t>
            </a:fld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FC1B8A-E97F-4AA2-8719-79CD198E1FB4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94092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Upravte styly předlohy textu.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 smtClean="0"/>
              <a:t>Upravte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Upravte styly předlohy textu.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 smtClean="0"/>
              <a:t>Upravte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7" name="Zástupný symbol pro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3DAC8E-524B-406B-AE28-AD051C44793E}" type="datetime1">
              <a:rPr lang="cs-CZ" smtClean="0"/>
              <a:t>03.01.2023</a:t>
            </a:fld>
            <a:endParaRPr lang="cs-CZ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FC1B8A-E97F-4AA2-8719-79CD198E1FB4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342563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A20353-7CA8-4385-A989-A46447788078}" type="datetime1">
              <a:rPr lang="cs-CZ" smtClean="0"/>
              <a:t>03.01.2023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FC1B8A-E97F-4AA2-8719-79CD198E1FB4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896403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0A2A4F-63BF-463A-81D8-2FBF94905EF8}" type="datetime1">
              <a:rPr lang="cs-CZ" smtClean="0"/>
              <a:t>03.01.2023</a:t>
            </a:fld>
            <a:endParaRPr lang="cs-CZ"/>
          </a:p>
        </p:txBody>
      </p:sp>
      <p:sp>
        <p:nvSpPr>
          <p:cNvPr id="3" name="Zástupný symbol pro zápatí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FC1B8A-E97F-4AA2-8719-79CD198E1FB4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33966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 smtClean="0"/>
              <a:t>Upravte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 smtClean="0"/>
              <a:t>Upravte styly předlohy textu.</a:t>
            </a:r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FC22F4-28E1-4F85-A58B-8BE8AE93186F}" type="datetime1">
              <a:rPr lang="cs-CZ" smtClean="0"/>
              <a:t>03.01.2023</a:t>
            </a:fld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FC1B8A-E97F-4AA2-8719-79CD198E1FB4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350084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 smtClean="0"/>
              <a:t>Upravte styly předlohy textu.</a:t>
            </a:r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ECA607-908E-4B99-BDAC-DCDBD8CA0015}" type="datetime1">
              <a:rPr lang="cs-CZ" smtClean="0"/>
              <a:t>03.01.2023</a:t>
            </a:fld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FC1B8A-E97F-4AA2-8719-79CD198E1FB4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578537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smtClean="0"/>
              <a:t>Upravte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B0E4F83-5E81-4283-8D80-1ED17A5A8A6A}" type="datetime1">
              <a:rPr lang="cs-CZ" smtClean="0"/>
              <a:t>03.01.2023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CFC1B8A-E97F-4AA2-8719-79CD198E1FB4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070954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13" Type="http://schemas.openxmlformats.org/officeDocument/2006/relationships/image" Target="NULL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0.png"/><Relationship Id="rId12" Type="http://schemas.openxmlformats.org/officeDocument/2006/relationships/image" Target="../media/image12.png"/><Relationship Id="rId17" Type="http://schemas.openxmlformats.org/officeDocument/2006/relationships/image" Target="NULL"/><Relationship Id="rId2" Type="http://schemas.openxmlformats.org/officeDocument/2006/relationships/tags" Target="../tags/tag2.xml"/><Relationship Id="rId16" Type="http://schemas.openxmlformats.org/officeDocument/2006/relationships/image" Target="../media/image14.png"/><Relationship Id="rId1" Type="http://schemas.openxmlformats.org/officeDocument/2006/relationships/vmlDrawing" Target="../drawings/vmlDrawing2.vml"/><Relationship Id="rId6" Type="http://schemas.openxmlformats.org/officeDocument/2006/relationships/chart" Target="../charts/chart3.xml"/><Relationship Id="rId11" Type="http://schemas.openxmlformats.org/officeDocument/2006/relationships/chart" Target="../charts/chart4.xml"/><Relationship Id="rId5" Type="http://schemas.openxmlformats.org/officeDocument/2006/relationships/image" Target="../media/image9.emf"/><Relationship Id="rId15" Type="http://schemas.openxmlformats.org/officeDocument/2006/relationships/image" Target="NULL"/><Relationship Id="rId10" Type="http://schemas.openxmlformats.org/officeDocument/2006/relationships/image" Target="NULL"/><Relationship Id="rId4" Type="http://schemas.openxmlformats.org/officeDocument/2006/relationships/oleObject" Target="../embeddings/oleObject2.bin"/><Relationship Id="rId9" Type="http://schemas.openxmlformats.org/officeDocument/2006/relationships/image" Target="../media/image11.png"/><Relationship Id="rId14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8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5221472" y="3627992"/>
            <a:ext cx="6697626" cy="1325563"/>
          </a:xfrm>
        </p:spPr>
        <p:txBody>
          <a:bodyPr>
            <a:normAutofit/>
          </a:bodyPr>
          <a:lstStyle/>
          <a:p>
            <a:r>
              <a:rPr lang="cs-CZ" sz="7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NOVÝ BODOVÝ SYSTÉM</a:t>
            </a:r>
            <a:endParaRPr lang="cs-CZ" sz="7200" dirty="0">
              <a:solidFill>
                <a:schemeClr val="tx1">
                  <a:lumMod val="75000"/>
                  <a:lumOff val="25000"/>
                </a:schemeClr>
              </a:solidFill>
              <a:latin typeface="Bahnschrift Condensed" panose="020B0502040204020203" pitchFamily="34" charset="0"/>
            </a:endParaRPr>
          </a:p>
        </p:txBody>
      </p:sp>
      <p:sp>
        <p:nvSpPr>
          <p:cNvPr id="6" name="Google Shape;1706;p65"/>
          <p:cNvSpPr/>
          <p:nvPr/>
        </p:nvSpPr>
        <p:spPr>
          <a:xfrm flipH="1">
            <a:off x="4208996" y="4898243"/>
            <a:ext cx="7524349" cy="54740"/>
          </a:xfrm>
          <a:custGeom>
            <a:avLst/>
            <a:gdLst>
              <a:gd name="connsiteX0" fmla="*/ 0 w 8121"/>
              <a:gd name="connsiteY0" fmla="*/ 0 h 9994"/>
              <a:gd name="connsiteX1" fmla="*/ 0 w 8121"/>
              <a:gd name="connsiteY1" fmla="*/ 9994 h 9994"/>
              <a:gd name="connsiteX2" fmla="*/ 8121 w 8121"/>
              <a:gd name="connsiteY2" fmla="*/ 9546 h 9994"/>
              <a:gd name="connsiteX3" fmla="*/ 7220 w 8121"/>
              <a:gd name="connsiteY3" fmla="*/ 0 h 9994"/>
              <a:gd name="connsiteX4" fmla="*/ 0 w 8121"/>
              <a:gd name="connsiteY4" fmla="*/ 0 h 9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21" h="9994" extrusionOk="0">
                <a:moveTo>
                  <a:pt x="0" y="0"/>
                </a:moveTo>
                <a:lnTo>
                  <a:pt x="0" y="9994"/>
                </a:lnTo>
                <a:lnTo>
                  <a:pt x="8121" y="9546"/>
                </a:lnTo>
                <a:cubicBezTo>
                  <a:pt x="7821" y="6364"/>
                  <a:pt x="7520" y="3182"/>
                  <a:pt x="7220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" name="Google Shape;1706;p65"/>
          <p:cNvSpPr/>
          <p:nvPr/>
        </p:nvSpPr>
        <p:spPr>
          <a:xfrm flipH="1">
            <a:off x="2963759" y="5127992"/>
            <a:ext cx="8778860" cy="53595"/>
          </a:xfrm>
          <a:custGeom>
            <a:avLst/>
            <a:gdLst>
              <a:gd name="connsiteX0" fmla="*/ 0 w 8079"/>
              <a:gd name="connsiteY0" fmla="*/ 0 h 9994"/>
              <a:gd name="connsiteX1" fmla="*/ 0 w 8079"/>
              <a:gd name="connsiteY1" fmla="*/ 9994 h 9994"/>
              <a:gd name="connsiteX2" fmla="*/ 8079 w 8079"/>
              <a:gd name="connsiteY2" fmla="*/ 9019 h 9994"/>
              <a:gd name="connsiteX3" fmla="*/ 7220 w 8079"/>
              <a:gd name="connsiteY3" fmla="*/ 0 h 9994"/>
              <a:gd name="connsiteX4" fmla="*/ 0 w 8079"/>
              <a:gd name="connsiteY4" fmla="*/ 0 h 9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" h="9994" extrusionOk="0">
                <a:moveTo>
                  <a:pt x="0" y="0"/>
                </a:moveTo>
                <a:lnTo>
                  <a:pt x="0" y="9994"/>
                </a:lnTo>
                <a:lnTo>
                  <a:pt x="8079" y="9019"/>
                </a:lnTo>
                <a:cubicBezTo>
                  <a:pt x="7793" y="6013"/>
                  <a:pt x="7506" y="3006"/>
                  <a:pt x="722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FF66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33455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362B19B-CBD9-4FA6-9D05-895818E95B9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362B19B-CBD9-4FA6-9D05-895818E95B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Nadpis 2">
            <a:extLst>
              <a:ext uri="{FF2B5EF4-FFF2-40B4-BE49-F238E27FC236}">
                <a16:creationId xmlns:a16="http://schemas.microsoft.com/office/drawing/2014/main" id="{CEAFA2A6-0CCA-4C30-8AAC-09C3A440A0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7070984" cy="486000"/>
          </a:xfrm>
        </p:spPr>
        <p:txBody>
          <a:bodyPr vert="horz">
            <a:normAutofit fontScale="90000"/>
          </a:bodyPr>
          <a:lstStyle/>
          <a:p>
            <a:r>
              <a:rPr lang="cs-CZ" dirty="0">
                <a:solidFill>
                  <a:schemeClr val="tx1"/>
                </a:solidFill>
                <a:latin typeface="+mn-lt"/>
              </a:rPr>
              <a:t>AUTOŠKOLA A ŘIDIČSKÝ PRŮKAZ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1A9330FD-0EFD-45A9-B9D2-3DFF82D3BDF2}"/>
              </a:ext>
            </a:extLst>
          </p:cNvPr>
          <p:cNvSpPr/>
          <p:nvPr/>
        </p:nvSpPr>
        <p:spPr>
          <a:xfrm>
            <a:off x="7594381" y="0"/>
            <a:ext cx="4537207" cy="6858000"/>
          </a:xfrm>
          <a:prstGeom prst="rect">
            <a:avLst/>
          </a:prstGeom>
          <a:solidFill>
            <a:srgbClr val="1358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33D4752-1AE2-4DCB-889F-5E9010E1D5AE}"/>
              </a:ext>
            </a:extLst>
          </p:cNvPr>
          <p:cNvSpPr txBox="1"/>
          <p:nvPr/>
        </p:nvSpPr>
        <p:spPr>
          <a:xfrm>
            <a:off x="95166" y="683985"/>
            <a:ext cx="750991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600" b="1" dirty="0">
                <a:solidFill>
                  <a:srgbClr val="135868"/>
                </a:solidFill>
                <a:latin typeface="Arial" panose="020B0604020202020204" pitchFamily="34" charset="0"/>
              </a:rPr>
              <a:t>Na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13586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složení zkoušek z autoškoly by měli mít mladí řidiči dva až tři pokusy. Řidičák na zkoušku by měl být zaveden podle 4 z 5 řidičů. 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13586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2" name="Zástupný text 4">
            <a:extLst>
              <a:ext uri="{FF2B5EF4-FFF2-40B4-BE49-F238E27FC236}">
                <a16:creationId xmlns:a16="http://schemas.microsoft.com/office/drawing/2014/main" id="{048772E0-930D-1292-8961-9626AD3FA4DD}"/>
              </a:ext>
            </a:extLst>
          </p:cNvPr>
          <p:cNvSpPr txBox="1">
            <a:spLocks/>
          </p:cNvSpPr>
          <p:nvPr/>
        </p:nvSpPr>
        <p:spPr>
          <a:xfrm>
            <a:off x="1397211" y="1544307"/>
            <a:ext cx="5580062" cy="2447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PIMÁLNÍ POČET POKUSŮ PRO SLOŽENÍ ZÁVĚREČNÉ ZKOUŠKY</a:t>
            </a:r>
          </a:p>
        </p:txBody>
      </p:sp>
      <p:sp>
        <p:nvSpPr>
          <p:cNvPr id="41" name="Cadre 7">
            <a:extLst>
              <a:ext uri="{FF2B5EF4-FFF2-40B4-BE49-F238E27FC236}">
                <a16:creationId xmlns:a16="http://schemas.microsoft.com/office/drawing/2014/main" id="{6BF56F6F-6DFF-46DC-B7B8-47110815829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7" name="Zástupný text 4">
            <a:extLst>
              <a:ext uri="{FF2B5EF4-FFF2-40B4-BE49-F238E27FC236}">
                <a16:creationId xmlns:a16="http://schemas.microsoft.com/office/drawing/2014/main" id="{39A09E1A-790F-3418-FEE6-1DD1DF025255}"/>
              </a:ext>
            </a:extLst>
          </p:cNvPr>
          <p:cNvSpPr txBox="1">
            <a:spLocks/>
          </p:cNvSpPr>
          <p:nvPr/>
        </p:nvSpPr>
        <p:spPr>
          <a:xfrm>
            <a:off x="1510082" y="4343479"/>
            <a:ext cx="4810982" cy="2447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ÍRA SOUHLASU SE ZAVEDENÍM ŘIDIČÁKU NA ZKOUŠKU</a:t>
            </a:r>
          </a:p>
        </p:txBody>
      </p:sp>
      <p:graphicFrame>
        <p:nvGraphicFramePr>
          <p:cNvPr id="42" name="Graf 41">
            <a:extLst>
              <a:ext uri="{FF2B5EF4-FFF2-40B4-BE49-F238E27FC236}">
                <a16:creationId xmlns:a16="http://schemas.microsoft.com/office/drawing/2014/main" id="{DC2F0A1B-C162-4264-848E-C113FC31EFD2}"/>
              </a:ext>
            </a:extLst>
          </p:cNvPr>
          <p:cNvGraphicFramePr/>
          <p:nvPr>
            <p:extLst/>
          </p:nvPr>
        </p:nvGraphicFramePr>
        <p:xfrm>
          <a:off x="1015099" y="1768400"/>
          <a:ext cx="5580062" cy="23394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Ovál 7">
            <a:extLst>
              <a:ext uri="{FF2B5EF4-FFF2-40B4-BE49-F238E27FC236}">
                <a16:creationId xmlns:a16="http://schemas.microsoft.com/office/drawing/2014/main" id="{7F4216EF-5960-4C79-98D8-302FD8B974EE}"/>
              </a:ext>
            </a:extLst>
          </p:cNvPr>
          <p:cNvSpPr/>
          <p:nvPr/>
        </p:nvSpPr>
        <p:spPr>
          <a:xfrm>
            <a:off x="1601443" y="4696133"/>
            <a:ext cx="666000" cy="664034"/>
          </a:xfrm>
          <a:prstGeom prst="ellipse">
            <a:avLst/>
          </a:prstGeom>
          <a:solidFill>
            <a:srgbClr val="1358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7" name="Grafický objekt 6" descr="Symbol zvednutého palce obrys">
            <a:extLst>
              <a:ext uri="{FF2B5EF4-FFF2-40B4-BE49-F238E27FC236}">
                <a16:creationId xmlns:a16="http://schemas.microsoft.com/office/drawing/2014/main" id="{9A1DC7B3-2601-4C6B-8C38-6ECE788D5DCC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flipH="1">
            <a:off x="1626519" y="4684714"/>
            <a:ext cx="580335" cy="580335"/>
          </a:xfrm>
          <a:prstGeom prst="rect">
            <a:avLst/>
          </a:prstGeom>
        </p:spPr>
      </p:pic>
      <p:sp>
        <p:nvSpPr>
          <p:cNvPr id="48" name="Ovál 47">
            <a:extLst>
              <a:ext uri="{FF2B5EF4-FFF2-40B4-BE49-F238E27FC236}">
                <a16:creationId xmlns:a16="http://schemas.microsoft.com/office/drawing/2014/main" id="{3FA383E0-BB87-4490-A336-62AF5979E1BF}"/>
              </a:ext>
            </a:extLst>
          </p:cNvPr>
          <p:cNvSpPr/>
          <p:nvPr/>
        </p:nvSpPr>
        <p:spPr>
          <a:xfrm>
            <a:off x="5329693" y="4696133"/>
            <a:ext cx="666000" cy="664034"/>
          </a:xfrm>
          <a:prstGeom prst="ellipse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Obdélník 3">
            <a:extLst>
              <a:ext uri="{FF2B5EF4-FFF2-40B4-BE49-F238E27FC236}">
                <a16:creationId xmlns:a16="http://schemas.microsoft.com/office/drawing/2014/main" id="{9B776F90-F708-4F0C-BA44-A8805CD5DA7D}"/>
              </a:ext>
            </a:extLst>
          </p:cNvPr>
          <p:cNvSpPr/>
          <p:nvPr/>
        </p:nvSpPr>
        <p:spPr>
          <a:xfrm>
            <a:off x="2168752" y="4905788"/>
            <a:ext cx="3285781" cy="244725"/>
          </a:xfrm>
          <a:prstGeom prst="rect">
            <a:avLst/>
          </a:prstGeom>
          <a:gradFill flip="none" rotWithShape="1">
            <a:gsLst>
              <a:gs pos="20000">
                <a:srgbClr val="135868"/>
              </a:gs>
              <a:gs pos="64000">
                <a:srgbClr val="2F8889"/>
              </a:gs>
              <a:gs pos="85000">
                <a:srgbClr val="595959"/>
              </a:gs>
              <a:gs pos="100000">
                <a:srgbClr val="262626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1" name="Grafický objekt 10" descr="Palec dolů obrys">
            <a:extLst>
              <a:ext uri="{FF2B5EF4-FFF2-40B4-BE49-F238E27FC236}">
                <a16:creationId xmlns:a16="http://schemas.microsoft.com/office/drawing/2014/main" id="{9215FB06-CC86-49EA-AFD8-65A7D0E61DE7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372525" y="4804995"/>
            <a:ext cx="580335" cy="580335"/>
          </a:xfrm>
          <a:prstGeom prst="rect">
            <a:avLst/>
          </a:prstGeom>
        </p:spPr>
      </p:pic>
      <p:sp>
        <p:nvSpPr>
          <p:cNvPr id="13" name="TextovéPole 12">
            <a:extLst>
              <a:ext uri="{FF2B5EF4-FFF2-40B4-BE49-F238E27FC236}">
                <a16:creationId xmlns:a16="http://schemas.microsoft.com/office/drawing/2014/main" id="{72137936-5B76-4179-8CFA-36F9DE7F2E90}"/>
              </a:ext>
            </a:extLst>
          </p:cNvPr>
          <p:cNvSpPr txBox="1"/>
          <p:nvPr/>
        </p:nvSpPr>
        <p:spPr>
          <a:xfrm>
            <a:off x="1463408" y="5400753"/>
            <a:ext cx="94206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0 %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uhlasí</a:t>
            </a:r>
          </a:p>
        </p:txBody>
      </p:sp>
      <p:sp>
        <p:nvSpPr>
          <p:cNvPr id="52" name="TextovéPole 51">
            <a:extLst>
              <a:ext uri="{FF2B5EF4-FFF2-40B4-BE49-F238E27FC236}">
                <a16:creationId xmlns:a16="http://schemas.microsoft.com/office/drawing/2014/main" id="{AC49FC60-0060-48F0-B8DC-120F484765F8}"/>
              </a:ext>
            </a:extLst>
          </p:cNvPr>
          <p:cNvSpPr txBox="1"/>
          <p:nvPr/>
        </p:nvSpPr>
        <p:spPr>
          <a:xfrm>
            <a:off x="5191657" y="5436952"/>
            <a:ext cx="94206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 %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souhlasí</a:t>
            </a:r>
          </a:p>
        </p:txBody>
      </p:sp>
      <p:sp>
        <p:nvSpPr>
          <p:cNvPr id="6" name="Zástupný text 4">
            <a:extLst>
              <a:ext uri="{FF2B5EF4-FFF2-40B4-BE49-F238E27FC236}">
                <a16:creationId xmlns:a16="http://schemas.microsoft.com/office/drawing/2014/main" id="{DDA5B6BD-775D-5301-9423-4CAB32BB2739}"/>
              </a:ext>
            </a:extLst>
          </p:cNvPr>
          <p:cNvSpPr txBox="1">
            <a:spLocks/>
          </p:cNvSpPr>
          <p:nvPr/>
        </p:nvSpPr>
        <p:spPr>
          <a:xfrm>
            <a:off x="8582706" y="781842"/>
            <a:ext cx="2571258" cy="4396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ÁJEM O  NÁVAZNÁ ŠKOLENÍ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6C390C61-E905-5997-80A9-2D88DC0004B6}"/>
              </a:ext>
            </a:extLst>
          </p:cNvPr>
          <p:cNvSpPr/>
          <p:nvPr/>
        </p:nvSpPr>
        <p:spPr>
          <a:xfrm>
            <a:off x="7551548" y="1326299"/>
            <a:ext cx="4810981" cy="3478696"/>
          </a:xfrm>
          <a:prstGeom prst="rect">
            <a:avLst/>
          </a:prstGeom>
          <a:solidFill>
            <a:schemeClr val="bg1">
              <a:alpha val="3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0" name="Graf 9">
            <a:extLst>
              <a:ext uri="{FF2B5EF4-FFF2-40B4-BE49-F238E27FC236}">
                <a16:creationId xmlns:a16="http://schemas.microsoft.com/office/drawing/2014/main" id="{B7C447AB-940F-857F-E1BD-0712ADC5C2C4}"/>
              </a:ext>
            </a:extLst>
          </p:cNvPr>
          <p:cNvGraphicFramePr/>
          <p:nvPr>
            <p:extLst/>
          </p:nvPr>
        </p:nvGraphicFramePr>
        <p:xfrm>
          <a:off x="8554432" y="1390307"/>
          <a:ext cx="2828788" cy="34786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pic>
        <p:nvPicPr>
          <p:cNvPr id="20" name="Grafický objekt 19" descr="Třída obrys">
            <a:extLst>
              <a:ext uri="{FF2B5EF4-FFF2-40B4-BE49-F238E27FC236}">
                <a16:creationId xmlns:a16="http://schemas.microsoft.com/office/drawing/2014/main" id="{3B4AA088-B105-9E1F-25FF-EAF91A4FE038}"/>
              </a:ext>
            </a:extLst>
          </p:cNvPr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1097809" y="675705"/>
            <a:ext cx="538594" cy="538594"/>
          </a:xfrm>
          <a:prstGeom prst="rect">
            <a:avLst/>
          </a:prstGeom>
        </p:spPr>
      </p:pic>
      <p:sp>
        <p:nvSpPr>
          <p:cNvPr id="64" name="Zástupný text 3">
            <a:extLst>
              <a:ext uri="{FF2B5EF4-FFF2-40B4-BE49-F238E27FC236}">
                <a16:creationId xmlns:a16="http://schemas.microsoft.com/office/drawing/2014/main" id="{59DED507-ACDA-FC92-96CB-533DA9E4A060}"/>
              </a:ext>
            </a:extLst>
          </p:cNvPr>
          <p:cNvSpPr txBox="1">
            <a:spLocks/>
          </p:cNvSpPr>
          <p:nvPr/>
        </p:nvSpPr>
        <p:spPr>
          <a:xfrm>
            <a:off x="525463" y="6027148"/>
            <a:ext cx="7008506" cy="769441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i="1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itchFamily="34" charset="0"/>
              </a:defRPr>
            </a:lvl1pPr>
            <a:lvl2pPr marL="457189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i="1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i="1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i="1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i="1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000" b="1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Báze:</a:t>
            </a:r>
            <a:r>
              <a:rPr kumimoji="0" lang="cs-CZ" sz="100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 n=790 (pouze řidiči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000" b="1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Otázka: </a:t>
            </a:r>
            <a:r>
              <a:rPr kumimoji="0" lang="cs-CZ" sz="100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ADHC1. Do jaké míry souhlasíte se zavedením řidičáku na zkoušku? ADHC2. Jaký maximální počet pokusů pro složení závěrečné zkoušky je podle Vás optimální? ADHC6 Měl/a byste jako řidič začátečník (tzn. čerstvě po absolvování autoškoly) zájem o další návazná školení? Jednalo by se o přednášky a jízdy na polygonech. Tato školení by garantoval stát z čehož by plynuly další výhody. </a:t>
            </a:r>
          </a:p>
        </p:txBody>
      </p:sp>
      <p:cxnSp>
        <p:nvCxnSpPr>
          <p:cNvPr id="5" name="Přímá spojnice 4">
            <a:extLst>
              <a:ext uri="{FF2B5EF4-FFF2-40B4-BE49-F238E27FC236}">
                <a16:creationId xmlns:a16="http://schemas.microsoft.com/office/drawing/2014/main" id="{8C30865B-2556-1C04-F2B7-45A0A0F7085E}"/>
              </a:ext>
            </a:extLst>
          </p:cNvPr>
          <p:cNvCxnSpPr>
            <a:cxnSpLocks/>
          </p:cNvCxnSpPr>
          <p:nvPr/>
        </p:nvCxnSpPr>
        <p:spPr>
          <a:xfrm>
            <a:off x="7534708" y="4804781"/>
            <a:ext cx="4584959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Grafický objekt 20" descr="Profesor žena obrys">
            <a:extLst>
              <a:ext uri="{FF2B5EF4-FFF2-40B4-BE49-F238E27FC236}">
                <a16:creationId xmlns:a16="http://schemas.microsoft.com/office/drawing/2014/main" id="{9A34BE06-734D-AE07-546D-B23577B2B0DA}"/>
              </a:ext>
            </a:extLst>
          </p:cNvPr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08780" y="2938143"/>
            <a:ext cx="527005" cy="527005"/>
          </a:xfrm>
          <a:prstGeom prst="rect">
            <a:avLst/>
          </a:prstGeom>
        </p:spPr>
      </p:pic>
      <p:pic>
        <p:nvPicPr>
          <p:cNvPr id="24" name="Grafický objekt 23" descr="Taxi obrys">
            <a:extLst>
              <a:ext uri="{FF2B5EF4-FFF2-40B4-BE49-F238E27FC236}">
                <a16:creationId xmlns:a16="http://schemas.microsoft.com/office/drawing/2014/main" id="{F05E8C38-C928-65C2-53A6-D8A356A8BECE}"/>
              </a:ext>
            </a:extLst>
          </p:cNvPr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776656" y="2047396"/>
            <a:ext cx="559129" cy="559129"/>
          </a:xfrm>
          <a:prstGeom prst="rect">
            <a:avLst/>
          </a:prstGeom>
        </p:spPr>
      </p:pic>
      <p:sp>
        <p:nvSpPr>
          <p:cNvPr id="18" name="TextovéPole 17">
            <a:extLst>
              <a:ext uri="{FF2B5EF4-FFF2-40B4-BE49-F238E27FC236}">
                <a16:creationId xmlns:a16="http://schemas.microsoft.com/office/drawing/2014/main" id="{C41C91E0-C1E5-AFE9-33B8-F7C0800E0C2F}"/>
              </a:ext>
            </a:extLst>
          </p:cNvPr>
          <p:cNvSpPr txBox="1"/>
          <p:nvPr/>
        </p:nvSpPr>
        <p:spPr>
          <a:xfrm>
            <a:off x="9159588" y="5069969"/>
            <a:ext cx="2828788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řidičů by, jako řidiči začátečníci, měli zájem o návazná školení garantovaná státem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09C71105-2966-48DB-80AD-C0631E25FEE2}"/>
              </a:ext>
            </a:extLst>
          </p:cNvPr>
          <p:cNvSpPr txBox="1"/>
          <p:nvPr/>
        </p:nvSpPr>
        <p:spPr>
          <a:xfrm>
            <a:off x="8059432" y="5503895"/>
            <a:ext cx="156204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6 %</a:t>
            </a:r>
            <a:endParaRPr kumimoji="0" lang="cs-CZ" sz="3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Obdélník 22">
            <a:extLst>
              <a:ext uri="{FF2B5EF4-FFF2-40B4-BE49-F238E27FC236}">
                <a16:creationId xmlns:a16="http://schemas.microsoft.com/office/drawing/2014/main" id="{5DE12DBE-69E3-DEAA-2D10-B93E473363C9}"/>
              </a:ext>
            </a:extLst>
          </p:cNvPr>
          <p:cNvSpPr/>
          <p:nvPr/>
        </p:nvSpPr>
        <p:spPr>
          <a:xfrm>
            <a:off x="9946307" y="1490662"/>
            <a:ext cx="1010618" cy="2509071"/>
          </a:xfrm>
          <a:prstGeom prst="rect">
            <a:avLst/>
          </a:prstGeom>
          <a:noFill/>
          <a:ln w="190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9911109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Nadpis 2"/>
          <p:cNvSpPr txBox="1">
            <a:spLocks/>
          </p:cNvSpPr>
          <p:nvPr/>
        </p:nvSpPr>
        <p:spPr>
          <a:xfrm>
            <a:off x="2405570" y="813653"/>
            <a:ext cx="3554073" cy="20498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cs-CZ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  <a:ea typeface="+mn-ea"/>
                <a:cs typeface="+mn-cs"/>
              </a:rPr>
              <a:t>468</a:t>
            </a:r>
            <a:r>
              <a:rPr lang="cs-CZ" sz="3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  <a:ea typeface="+mn-ea"/>
                <a:cs typeface="+mn-cs"/>
              </a:rPr>
              <a:t>     usmrcených</a:t>
            </a:r>
            <a:br>
              <a:rPr lang="cs-CZ" sz="3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  <a:ea typeface="+mn-ea"/>
                <a:cs typeface="+mn-cs"/>
              </a:rPr>
            </a:br>
            <a:r>
              <a:rPr lang="cs-CZ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  <a:ea typeface="+mn-ea"/>
                <a:cs typeface="+mn-cs"/>
              </a:rPr>
              <a:t>1 691</a:t>
            </a:r>
            <a:r>
              <a:rPr lang="cs-CZ" sz="3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  <a:ea typeface="+mn-ea"/>
                <a:cs typeface="+mn-cs"/>
              </a:rPr>
              <a:t>   </a:t>
            </a:r>
            <a:r>
              <a:rPr lang="cs-CZ" sz="3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  <a:ea typeface="+mn-ea"/>
                <a:cs typeface="+mn-cs"/>
              </a:rPr>
              <a:t>těžce zraněných</a:t>
            </a:r>
            <a:endParaRPr lang="cs-CZ" sz="3200" dirty="0">
              <a:solidFill>
                <a:schemeClr val="tx1">
                  <a:lumMod val="75000"/>
                  <a:lumOff val="25000"/>
                </a:schemeClr>
              </a:solidFill>
              <a:latin typeface="Bahnschrift Condensed" panose="020B0502040204020203" pitchFamily="34" charset="0"/>
              <a:ea typeface="+mn-ea"/>
              <a:cs typeface="+mn-cs"/>
            </a:endParaRPr>
          </a:p>
        </p:txBody>
      </p:sp>
      <p:sp>
        <p:nvSpPr>
          <p:cNvPr id="7" name="Obdélník 6"/>
          <p:cNvSpPr/>
          <p:nvPr/>
        </p:nvSpPr>
        <p:spPr>
          <a:xfrm>
            <a:off x="317006" y="124144"/>
            <a:ext cx="11795217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6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Předběžná statistika nehodovosti za rok 2022</a:t>
            </a:r>
            <a:endParaRPr lang="cs-CZ" sz="6000" dirty="0">
              <a:solidFill>
                <a:schemeClr val="tx1">
                  <a:lumMod val="75000"/>
                  <a:lumOff val="25000"/>
                </a:schemeClr>
              </a:solidFill>
              <a:latin typeface="Bahnschrift Condensed" panose="020B0502040204020203" pitchFamily="34" charset="0"/>
            </a:endParaRPr>
          </a:p>
        </p:txBody>
      </p:sp>
      <p:pic>
        <p:nvPicPr>
          <p:cNvPr id="7170" name="x_Obrázek 5" descr="image00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1184" y="2636825"/>
            <a:ext cx="7603406" cy="4140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48121261"/>
      </p:ext>
    </p:extLst>
  </p:cSld>
  <p:clrMapOvr>
    <a:masterClrMapping/>
  </p:clrMapOvr>
  <p:transition spd="slow">
    <p:cover dir="u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/>
          <p:cNvPicPr>
            <a:picLocks noChangeAspect="1"/>
          </p:cNvPicPr>
          <p:nvPr/>
        </p:nvPicPr>
        <p:blipFill rotWithShape="1">
          <a:blip r:embed="rId2"/>
          <a:srcRect l="123" t="8698" r="6833" b="8001"/>
          <a:stretch/>
        </p:blipFill>
        <p:spPr>
          <a:xfrm>
            <a:off x="-1" y="0"/>
            <a:ext cx="1225616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5062928"/>
      </p:ext>
    </p:extLst>
  </p:cSld>
  <p:clrMapOvr>
    <a:masterClrMapping/>
  </p:clrMapOvr>
  <p:transition spd="slow">
    <p:cover dir="u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Kosoúhelník 14"/>
          <p:cNvSpPr/>
          <p:nvPr/>
        </p:nvSpPr>
        <p:spPr>
          <a:xfrm>
            <a:off x="2422183" y="4232411"/>
            <a:ext cx="1491915" cy="1147010"/>
          </a:xfrm>
          <a:prstGeom prst="parallelogram">
            <a:avLst/>
          </a:prstGeom>
          <a:solidFill>
            <a:srgbClr val="FF66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8" name="Kosoúhelník 17"/>
          <p:cNvSpPr/>
          <p:nvPr/>
        </p:nvSpPr>
        <p:spPr>
          <a:xfrm>
            <a:off x="5998267" y="4235955"/>
            <a:ext cx="1491915" cy="1147010"/>
          </a:xfrm>
          <a:prstGeom prst="parallelogram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9" name="Kosoúhelník 18"/>
          <p:cNvSpPr/>
          <p:nvPr/>
        </p:nvSpPr>
        <p:spPr>
          <a:xfrm>
            <a:off x="9613337" y="4225321"/>
            <a:ext cx="1491915" cy="1147010"/>
          </a:xfrm>
          <a:prstGeom prst="parallelogram">
            <a:avLst/>
          </a:prstGeom>
          <a:solidFill>
            <a:srgbClr val="FF66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4" name="Kosoúhelník 13"/>
          <p:cNvSpPr/>
          <p:nvPr/>
        </p:nvSpPr>
        <p:spPr>
          <a:xfrm>
            <a:off x="384825" y="2020185"/>
            <a:ext cx="3868200" cy="3131571"/>
          </a:xfrm>
          <a:prstGeom prst="parallelogram">
            <a:avLst/>
          </a:prstGeom>
          <a:solidFill>
            <a:schemeClr val="bg1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6" name="Kosoúhelník 15"/>
          <p:cNvSpPr/>
          <p:nvPr/>
        </p:nvSpPr>
        <p:spPr>
          <a:xfrm>
            <a:off x="7565348" y="2044994"/>
            <a:ext cx="3868200" cy="3131571"/>
          </a:xfrm>
          <a:prstGeom prst="parallelogram">
            <a:avLst/>
          </a:prstGeom>
          <a:solidFill>
            <a:schemeClr val="bg1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7" name="Kosoúhelník 16"/>
          <p:cNvSpPr/>
          <p:nvPr/>
        </p:nvSpPr>
        <p:spPr>
          <a:xfrm>
            <a:off x="3964453" y="2027272"/>
            <a:ext cx="3868200" cy="3131571"/>
          </a:xfrm>
          <a:prstGeom prst="parallelogram">
            <a:avLst/>
          </a:prstGeom>
          <a:solidFill>
            <a:schemeClr val="bg1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59889" y="609674"/>
            <a:ext cx="6220046" cy="949325"/>
          </a:xfrm>
        </p:spPr>
        <p:txBody>
          <a:bodyPr>
            <a:noAutofit/>
          </a:bodyPr>
          <a:lstStyle/>
          <a:p>
            <a:pPr algn="ctr"/>
            <a:r>
              <a:rPr lang="cs-CZ" sz="6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PŘEHLEDNĚJŠÍ SYSTÉM</a:t>
            </a:r>
            <a:endParaRPr lang="cs-CZ" sz="6000" dirty="0">
              <a:solidFill>
                <a:schemeClr val="tx1">
                  <a:lumMod val="75000"/>
                  <a:lumOff val="25000"/>
                </a:schemeClr>
              </a:solidFill>
              <a:latin typeface="Bahnschrift Condensed" panose="020B0502040204020203" pitchFamily="34" charset="0"/>
            </a:endParaRPr>
          </a:p>
        </p:txBody>
      </p:sp>
      <p:sp>
        <p:nvSpPr>
          <p:cNvPr id="5" name="TextovéPole 4"/>
          <p:cNvSpPr txBox="1"/>
          <p:nvPr/>
        </p:nvSpPr>
        <p:spPr>
          <a:xfrm>
            <a:off x="1234484" y="2622260"/>
            <a:ext cx="2038350" cy="2000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3200" b="1" dirty="0" smtClean="0">
                <a:solidFill>
                  <a:srgbClr val="FF66CC"/>
                </a:solidFill>
                <a:latin typeface="Bahnschrift Condensed" panose="020B0502040204020203" pitchFamily="34" charset="0"/>
              </a:rPr>
              <a:t>BODY</a:t>
            </a:r>
            <a:endParaRPr lang="cs-CZ" sz="2000" b="1" dirty="0" smtClean="0">
              <a:solidFill>
                <a:srgbClr val="FF66CC"/>
              </a:solidFill>
              <a:latin typeface="Bahnschrift Condensed" panose="020B0502040204020203" pitchFamily="34" charset="0"/>
            </a:endParaRPr>
          </a:p>
          <a:p>
            <a:pPr algn="ctr"/>
            <a:endParaRPr lang="cs-CZ" sz="2000" dirty="0">
              <a:solidFill>
                <a:schemeClr val="bg1">
                  <a:lumMod val="95000"/>
                </a:schemeClr>
              </a:solidFill>
              <a:latin typeface="Bahnschrift Condensed" panose="020B0502040204020203" pitchFamily="34" charset="0"/>
            </a:endParaRPr>
          </a:p>
          <a:p>
            <a:pPr algn="ctr"/>
            <a:r>
              <a:rPr lang="cs-CZ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6</a:t>
            </a:r>
            <a:r>
              <a:rPr lang="cs-CZ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 bodů</a:t>
            </a:r>
          </a:p>
          <a:p>
            <a:pPr algn="ctr"/>
            <a:r>
              <a:rPr lang="cs-CZ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4</a:t>
            </a:r>
            <a:r>
              <a:rPr lang="cs-CZ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 body </a:t>
            </a:r>
          </a:p>
          <a:p>
            <a:pPr algn="ctr"/>
            <a:r>
              <a:rPr lang="cs-CZ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2</a:t>
            </a:r>
            <a:r>
              <a:rPr lang="cs-CZ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 body</a:t>
            </a:r>
            <a:endParaRPr lang="cs-CZ" sz="2400" dirty="0">
              <a:solidFill>
                <a:schemeClr val="tx1">
                  <a:lumMod val="75000"/>
                  <a:lumOff val="25000"/>
                </a:schemeClr>
              </a:solidFill>
              <a:latin typeface="Bahnschrift Condensed" panose="020B0502040204020203" pitchFamily="34" charset="0"/>
            </a:endParaRPr>
          </a:p>
        </p:txBody>
      </p:sp>
      <p:sp>
        <p:nvSpPr>
          <p:cNvPr id="7" name="TextovéPole 6"/>
          <p:cNvSpPr txBox="1"/>
          <p:nvPr/>
        </p:nvSpPr>
        <p:spPr>
          <a:xfrm>
            <a:off x="8263934" y="2141581"/>
            <a:ext cx="247650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32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Bahnschrift Condensed" panose="020B0502040204020203" pitchFamily="34" charset="0"/>
              </a:rPr>
              <a:t>POKUTY VE SPRÁVNÍM ŘÍZENÍ</a:t>
            </a:r>
          </a:p>
          <a:p>
            <a:pPr algn="ctr"/>
            <a:endParaRPr lang="cs-CZ" sz="2000" b="1" dirty="0" smtClean="0">
              <a:solidFill>
                <a:schemeClr val="bg1">
                  <a:lumMod val="95000"/>
                </a:schemeClr>
              </a:solidFill>
              <a:latin typeface="Bahnschrift Condensed" panose="020B0502040204020203" pitchFamily="34" charset="0"/>
            </a:endParaRPr>
          </a:p>
          <a:p>
            <a:pPr algn="ctr"/>
            <a:r>
              <a:rPr lang="cs-CZ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25 </a:t>
            </a:r>
            <a:r>
              <a:rPr lang="cs-CZ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000 </a:t>
            </a:r>
            <a:r>
              <a:rPr lang="cs-CZ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– </a:t>
            </a:r>
            <a:r>
              <a:rPr lang="cs-CZ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75 000 </a:t>
            </a:r>
            <a:r>
              <a:rPr lang="cs-CZ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Kč</a:t>
            </a:r>
          </a:p>
          <a:p>
            <a:pPr algn="ctr"/>
            <a:r>
              <a:rPr lang="cs-CZ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7 </a:t>
            </a:r>
            <a:r>
              <a:rPr lang="cs-CZ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000 – 25 000 </a:t>
            </a:r>
            <a:r>
              <a:rPr lang="cs-CZ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Kč</a:t>
            </a:r>
          </a:p>
          <a:p>
            <a:pPr algn="ctr"/>
            <a:r>
              <a:rPr lang="cs-CZ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4 </a:t>
            </a:r>
            <a:r>
              <a:rPr lang="cs-CZ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000 – 10 000 </a:t>
            </a:r>
            <a:r>
              <a:rPr lang="cs-CZ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Kč</a:t>
            </a:r>
          </a:p>
          <a:p>
            <a:pPr algn="ctr"/>
            <a:r>
              <a:rPr lang="cs-CZ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2 </a:t>
            </a:r>
            <a:r>
              <a:rPr lang="cs-CZ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000 – </a:t>
            </a:r>
            <a:r>
              <a:rPr lang="cs-CZ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5 000 Kč</a:t>
            </a:r>
            <a:endParaRPr lang="cs-CZ" sz="2400" dirty="0">
              <a:solidFill>
                <a:schemeClr val="tx1">
                  <a:lumMod val="75000"/>
                  <a:lumOff val="25000"/>
                </a:schemeClr>
              </a:solidFill>
              <a:latin typeface="Bahnschrift Condensed" panose="020B0502040204020203" pitchFamily="34" charset="0"/>
            </a:endParaRPr>
          </a:p>
        </p:txBody>
      </p:sp>
      <p:sp>
        <p:nvSpPr>
          <p:cNvPr id="9" name="TextovéPole 8"/>
          <p:cNvSpPr txBox="1"/>
          <p:nvPr/>
        </p:nvSpPr>
        <p:spPr>
          <a:xfrm>
            <a:off x="4735253" y="2134270"/>
            <a:ext cx="203835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3200" b="1" dirty="0" smtClean="0">
                <a:solidFill>
                  <a:srgbClr val="FF66CC"/>
                </a:solidFill>
                <a:latin typeface="Bahnschrift Condensed" panose="020B0502040204020203" pitchFamily="34" charset="0"/>
              </a:rPr>
              <a:t>POKUTY </a:t>
            </a:r>
          </a:p>
          <a:p>
            <a:pPr algn="ctr"/>
            <a:r>
              <a:rPr lang="cs-CZ" sz="3200" b="1" dirty="0" smtClean="0">
                <a:solidFill>
                  <a:srgbClr val="FF66CC"/>
                </a:solidFill>
                <a:latin typeface="Bahnschrift Condensed" panose="020B0502040204020203" pitchFamily="34" charset="0"/>
              </a:rPr>
              <a:t>NA MÍSTĚ</a:t>
            </a:r>
          </a:p>
          <a:p>
            <a:pPr algn="ctr"/>
            <a:endParaRPr lang="cs-CZ" sz="2000" dirty="0">
              <a:solidFill>
                <a:schemeClr val="bg1">
                  <a:lumMod val="95000"/>
                </a:schemeClr>
              </a:solidFill>
              <a:latin typeface="Bahnschrift Condensed" panose="020B0502040204020203" pitchFamily="34" charset="0"/>
            </a:endParaRPr>
          </a:p>
          <a:p>
            <a:pPr lvl="0" algn="ctr" fontAlgn="base">
              <a:spcAft>
                <a:spcPct val="0"/>
              </a:spcAft>
            </a:pPr>
            <a:r>
              <a:rPr lang="cs-CZ" altLang="cs-CZ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4 500 - 5 500 </a:t>
            </a:r>
            <a:r>
              <a:rPr lang="cs-CZ" altLang="cs-CZ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Kč</a:t>
            </a:r>
          </a:p>
          <a:p>
            <a:pPr lvl="0" algn="ctr" fontAlgn="base">
              <a:spcAft>
                <a:spcPct val="0"/>
              </a:spcAft>
            </a:pPr>
            <a:r>
              <a:rPr lang="cs-CZ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2 500 </a:t>
            </a:r>
            <a:r>
              <a:rPr lang="cs-CZ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– 3 500 Kč</a:t>
            </a:r>
            <a:endParaRPr lang="cs-CZ" sz="2400" dirty="0">
              <a:solidFill>
                <a:schemeClr val="tx1">
                  <a:lumMod val="75000"/>
                  <a:lumOff val="25000"/>
                </a:schemeClr>
              </a:solidFill>
              <a:latin typeface="Bahnschrift Condensed" panose="020B0502040204020203" pitchFamily="34" charset="0"/>
            </a:endParaRPr>
          </a:p>
          <a:p>
            <a:pPr lvl="0" algn="ctr" fontAlgn="base">
              <a:spcAft>
                <a:spcPct val="0"/>
              </a:spcAft>
            </a:pPr>
            <a:r>
              <a:rPr lang="cs-CZ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1 </a:t>
            </a:r>
            <a:r>
              <a:rPr lang="cs-CZ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500 – 2 000 </a:t>
            </a:r>
            <a:r>
              <a:rPr lang="cs-CZ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Kč</a:t>
            </a:r>
          </a:p>
          <a:p>
            <a:pPr lvl="0" algn="ctr" fontAlgn="base">
              <a:spcAft>
                <a:spcPct val="0"/>
              </a:spcAft>
            </a:pPr>
            <a:r>
              <a:rPr lang="cs-CZ" altLang="cs-CZ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do </a:t>
            </a:r>
            <a:r>
              <a:rPr lang="cs-CZ" altLang="cs-CZ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1 500 Kč</a:t>
            </a:r>
            <a:endParaRPr lang="cs-CZ" sz="2400" dirty="0">
              <a:solidFill>
                <a:schemeClr val="tx1">
                  <a:lumMod val="75000"/>
                  <a:lumOff val="25000"/>
                </a:schemeClr>
              </a:solidFill>
              <a:latin typeface="Bahnschrift Condensed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2766789"/>
      </p:ext>
    </p:extLst>
  </p:cSld>
  <p:clrMapOvr>
    <a:masterClrMapping/>
  </p:clrMapOvr>
  <p:transition spd="slow">
    <p:cover dir="u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5705474" y="365125"/>
            <a:ext cx="5648325" cy="1325563"/>
          </a:xfrm>
        </p:spPr>
        <p:txBody>
          <a:bodyPr>
            <a:normAutofit/>
          </a:bodyPr>
          <a:lstStyle/>
          <a:p>
            <a:r>
              <a:rPr lang="cs-CZ" sz="6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ŘÍZENÍ OD 17 LET</a:t>
            </a:r>
            <a:endParaRPr lang="cs-CZ" sz="6000" dirty="0">
              <a:solidFill>
                <a:schemeClr val="tx1">
                  <a:lumMod val="75000"/>
                  <a:lumOff val="25000"/>
                </a:schemeClr>
              </a:solidFill>
              <a:latin typeface="Bahnschrift Condensed" panose="020B0502040204020203" pitchFamily="34" charset="0"/>
            </a:endParaRPr>
          </a:p>
        </p:txBody>
      </p:sp>
      <p:sp>
        <p:nvSpPr>
          <p:cNvPr id="9" name="Zástupný symbol pro obsah 8"/>
          <p:cNvSpPr>
            <a:spLocks noGrp="1"/>
          </p:cNvSpPr>
          <p:nvPr>
            <p:ph idx="1"/>
          </p:nvPr>
        </p:nvSpPr>
        <p:spPr>
          <a:xfrm>
            <a:off x="5686424" y="1539875"/>
            <a:ext cx="5667375" cy="936625"/>
          </a:xfrm>
        </p:spPr>
        <p:txBody>
          <a:bodyPr>
            <a:noAutofit/>
          </a:bodyPr>
          <a:lstStyle/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cs-CZ" altLang="cs-CZ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pouze v doprovodu mentora </a:t>
            </a:r>
            <a:r>
              <a:rPr lang="cs-CZ" alt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zapsaného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cs-CZ" alt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v </a:t>
            </a:r>
            <a:r>
              <a:rPr lang="cs-CZ" altLang="cs-CZ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registru </a:t>
            </a:r>
            <a:r>
              <a:rPr lang="cs-CZ" alt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řidičů, např. rodiče</a:t>
            </a:r>
            <a:endParaRPr lang="cs-CZ" dirty="0">
              <a:solidFill>
                <a:schemeClr val="tx1">
                  <a:lumMod val="75000"/>
                  <a:lumOff val="25000"/>
                </a:schemeClr>
              </a:solidFill>
              <a:latin typeface="Bahnschrift Condensed" panose="020B0502040204020203" pitchFamily="34" charset="0"/>
            </a:endParaRPr>
          </a:p>
        </p:txBody>
      </p:sp>
      <p:sp>
        <p:nvSpPr>
          <p:cNvPr id="10" name="Obdélník 9"/>
          <p:cNvSpPr/>
          <p:nvPr/>
        </p:nvSpPr>
        <p:spPr>
          <a:xfrm>
            <a:off x="-4619625" y="0"/>
            <a:ext cx="101727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82475 w 12192000"/>
              <a:gd name="connsiteY2" fmla="*/ 3333750 h 6858000"/>
              <a:gd name="connsiteX3" fmla="*/ 12192000 w 12192000"/>
              <a:gd name="connsiteY3" fmla="*/ 6858000 h 6858000"/>
              <a:gd name="connsiteX4" fmla="*/ 0 w 12192000"/>
              <a:gd name="connsiteY4" fmla="*/ 6858000 h 6858000"/>
              <a:gd name="connsiteX5" fmla="*/ 0 w 12192000"/>
              <a:gd name="connsiteY5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0220325 w 12192000"/>
              <a:gd name="connsiteY2" fmla="*/ 3371850 h 6858000"/>
              <a:gd name="connsiteX3" fmla="*/ 12192000 w 12192000"/>
              <a:gd name="connsiteY3" fmla="*/ 6858000 h 6858000"/>
              <a:gd name="connsiteX4" fmla="*/ 0 w 12192000"/>
              <a:gd name="connsiteY4" fmla="*/ 6858000 h 6858000"/>
              <a:gd name="connsiteX5" fmla="*/ 0 w 12192000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0220325" y="337185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21386" r="-21386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Google Shape;5744;p70"/>
          <p:cNvSpPr/>
          <p:nvPr/>
        </p:nvSpPr>
        <p:spPr>
          <a:xfrm>
            <a:off x="6294499" y="3476625"/>
            <a:ext cx="536606" cy="507586"/>
          </a:xfrm>
          <a:custGeom>
            <a:avLst/>
            <a:gdLst/>
            <a:ahLst/>
            <a:cxnLst/>
            <a:rect l="l" t="t" r="r" b="b"/>
            <a:pathLst>
              <a:path w="31871" h="31838" extrusionOk="0">
                <a:moveTo>
                  <a:pt x="15952" y="1"/>
                </a:moveTo>
                <a:cubicBezTo>
                  <a:pt x="7144" y="1"/>
                  <a:pt x="1" y="7112"/>
                  <a:pt x="1" y="15919"/>
                </a:cubicBezTo>
                <a:cubicBezTo>
                  <a:pt x="1" y="24694"/>
                  <a:pt x="7144" y="31838"/>
                  <a:pt x="15952" y="31838"/>
                </a:cubicBezTo>
                <a:cubicBezTo>
                  <a:pt x="24727" y="31838"/>
                  <a:pt x="31870" y="24694"/>
                  <a:pt x="31870" y="15919"/>
                </a:cubicBezTo>
                <a:cubicBezTo>
                  <a:pt x="31870" y="7112"/>
                  <a:pt x="24727" y="1"/>
                  <a:pt x="15952" y="1"/>
                </a:cubicBezTo>
                <a:close/>
              </a:path>
            </a:pathLst>
          </a:custGeom>
          <a:solidFill>
            <a:schemeClr val="accent1">
              <a:lumMod val="60000"/>
              <a:lumOff val="40000"/>
              <a:alpha val="56000"/>
            </a:scheme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2" name="Skupina 21"/>
          <p:cNvGrpSpPr/>
          <p:nvPr/>
        </p:nvGrpSpPr>
        <p:grpSpPr>
          <a:xfrm>
            <a:off x="5906765" y="3467100"/>
            <a:ext cx="1313185" cy="3390900"/>
            <a:chOff x="7297415" y="3467100"/>
            <a:chExt cx="1313185" cy="3390900"/>
          </a:xfrm>
        </p:grpSpPr>
        <p:grpSp>
          <p:nvGrpSpPr>
            <p:cNvPr id="15" name="Skupina 14"/>
            <p:cNvGrpSpPr/>
            <p:nvPr/>
          </p:nvGrpSpPr>
          <p:grpSpPr>
            <a:xfrm>
              <a:off x="7297415" y="3467100"/>
              <a:ext cx="1313185" cy="3124200"/>
              <a:chOff x="5906765" y="3467100"/>
              <a:chExt cx="1313185" cy="3124200"/>
            </a:xfrm>
            <a:solidFill>
              <a:schemeClr val="accent1">
                <a:lumMod val="60000"/>
                <a:lumOff val="40000"/>
                <a:alpha val="56000"/>
              </a:schemeClr>
            </a:solidFill>
          </p:grpSpPr>
          <p:sp>
            <p:nvSpPr>
              <p:cNvPr id="16" name="Google Shape;5743;p70"/>
              <p:cNvSpPr/>
              <p:nvPr/>
            </p:nvSpPr>
            <p:spPr>
              <a:xfrm>
                <a:off x="5906765" y="4095557"/>
                <a:ext cx="1313185" cy="2495743"/>
              </a:xfrm>
              <a:custGeom>
                <a:avLst/>
                <a:gdLst/>
                <a:ahLst/>
                <a:cxnLst/>
                <a:rect l="l" t="t" r="r" b="b"/>
                <a:pathLst>
                  <a:path w="77995" h="156544" extrusionOk="0">
                    <a:moveTo>
                      <a:pt x="18496" y="1"/>
                    </a:moveTo>
                    <a:cubicBezTo>
                      <a:pt x="8514" y="1"/>
                      <a:pt x="359" y="8123"/>
                      <a:pt x="327" y="18105"/>
                    </a:cubicBezTo>
                    <a:lnTo>
                      <a:pt x="33" y="74537"/>
                    </a:lnTo>
                    <a:cubicBezTo>
                      <a:pt x="0" y="78778"/>
                      <a:pt x="3425" y="82235"/>
                      <a:pt x="7666" y="82268"/>
                    </a:cubicBezTo>
                    <a:lnTo>
                      <a:pt x="7731" y="82268"/>
                    </a:lnTo>
                    <a:cubicBezTo>
                      <a:pt x="11939" y="82268"/>
                      <a:pt x="15364" y="78843"/>
                      <a:pt x="15397" y="74635"/>
                    </a:cubicBezTo>
                    <a:lnTo>
                      <a:pt x="15691" y="18170"/>
                    </a:lnTo>
                    <a:cubicBezTo>
                      <a:pt x="15691" y="17341"/>
                      <a:pt x="16344" y="16668"/>
                      <a:pt x="17166" y="16668"/>
                    </a:cubicBezTo>
                    <a:cubicBezTo>
                      <a:pt x="17185" y="16668"/>
                      <a:pt x="17204" y="16669"/>
                      <a:pt x="17224" y="16669"/>
                    </a:cubicBezTo>
                    <a:cubicBezTo>
                      <a:pt x="18039" y="16669"/>
                      <a:pt x="18724" y="17355"/>
                      <a:pt x="18724" y="18170"/>
                    </a:cubicBezTo>
                    <a:lnTo>
                      <a:pt x="18724" y="147345"/>
                    </a:lnTo>
                    <a:cubicBezTo>
                      <a:pt x="18724" y="152433"/>
                      <a:pt x="22867" y="156543"/>
                      <a:pt x="27956" y="156543"/>
                    </a:cubicBezTo>
                    <a:cubicBezTo>
                      <a:pt x="33044" y="156543"/>
                      <a:pt x="37187" y="152433"/>
                      <a:pt x="37187" y="147345"/>
                    </a:cubicBezTo>
                    <a:lnTo>
                      <a:pt x="37187" y="73656"/>
                    </a:lnTo>
                    <a:lnTo>
                      <a:pt x="41167" y="73656"/>
                    </a:lnTo>
                    <a:lnTo>
                      <a:pt x="41167" y="147345"/>
                    </a:lnTo>
                    <a:cubicBezTo>
                      <a:pt x="41167" y="152433"/>
                      <a:pt x="45277" y="156543"/>
                      <a:pt x="50365" y="156543"/>
                    </a:cubicBezTo>
                    <a:cubicBezTo>
                      <a:pt x="55454" y="156543"/>
                      <a:pt x="59597" y="152433"/>
                      <a:pt x="59597" y="147345"/>
                    </a:cubicBezTo>
                    <a:cubicBezTo>
                      <a:pt x="59597" y="25477"/>
                      <a:pt x="59434" y="95153"/>
                      <a:pt x="59434" y="18300"/>
                    </a:cubicBezTo>
                    <a:cubicBezTo>
                      <a:pt x="59434" y="17420"/>
                      <a:pt x="60119" y="16702"/>
                      <a:pt x="60967" y="16669"/>
                    </a:cubicBezTo>
                    <a:cubicBezTo>
                      <a:pt x="60988" y="16669"/>
                      <a:pt x="61009" y="16668"/>
                      <a:pt x="61030" y="16668"/>
                    </a:cubicBezTo>
                    <a:cubicBezTo>
                      <a:pt x="61882" y="16668"/>
                      <a:pt x="62567" y="17310"/>
                      <a:pt x="62631" y="18170"/>
                    </a:cubicBezTo>
                    <a:lnTo>
                      <a:pt x="62598" y="74570"/>
                    </a:lnTo>
                    <a:cubicBezTo>
                      <a:pt x="62598" y="78810"/>
                      <a:pt x="66023" y="82268"/>
                      <a:pt x="70264" y="82268"/>
                    </a:cubicBezTo>
                    <a:cubicBezTo>
                      <a:pt x="74504" y="82268"/>
                      <a:pt x="77962" y="78843"/>
                      <a:pt x="77962" y="74602"/>
                    </a:cubicBezTo>
                    <a:lnTo>
                      <a:pt x="77994" y="18137"/>
                    </a:lnTo>
                    <a:cubicBezTo>
                      <a:pt x="77994" y="18137"/>
                      <a:pt x="77994" y="18105"/>
                      <a:pt x="77994" y="18105"/>
                    </a:cubicBezTo>
                    <a:cubicBezTo>
                      <a:pt x="77962" y="8123"/>
                      <a:pt x="69807" y="1"/>
                      <a:pt x="59825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" name="Google Shape;5744;p70"/>
              <p:cNvSpPr/>
              <p:nvPr/>
            </p:nvSpPr>
            <p:spPr>
              <a:xfrm>
                <a:off x="6284974" y="3467100"/>
                <a:ext cx="536606" cy="507586"/>
              </a:xfrm>
              <a:custGeom>
                <a:avLst/>
                <a:gdLst/>
                <a:ahLst/>
                <a:cxnLst/>
                <a:rect l="l" t="t" r="r" b="b"/>
                <a:pathLst>
                  <a:path w="31871" h="31838" extrusionOk="0">
                    <a:moveTo>
                      <a:pt x="15952" y="1"/>
                    </a:moveTo>
                    <a:cubicBezTo>
                      <a:pt x="7144" y="1"/>
                      <a:pt x="1" y="7112"/>
                      <a:pt x="1" y="15919"/>
                    </a:cubicBezTo>
                    <a:cubicBezTo>
                      <a:pt x="1" y="24694"/>
                      <a:pt x="7144" y="31838"/>
                      <a:pt x="15952" y="31838"/>
                    </a:cubicBezTo>
                    <a:cubicBezTo>
                      <a:pt x="24727" y="31838"/>
                      <a:pt x="31870" y="24694"/>
                      <a:pt x="31870" y="15919"/>
                    </a:cubicBezTo>
                    <a:cubicBezTo>
                      <a:pt x="31870" y="7112"/>
                      <a:pt x="24727" y="1"/>
                      <a:pt x="15952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21" name="Obdélník 20"/>
            <p:cNvSpPr/>
            <p:nvPr/>
          </p:nvSpPr>
          <p:spPr>
            <a:xfrm>
              <a:off x="7496175" y="5410200"/>
              <a:ext cx="923925" cy="1447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  <p:grpSp>
        <p:nvGrpSpPr>
          <p:cNvPr id="14" name="Skupina 13"/>
          <p:cNvGrpSpPr/>
          <p:nvPr/>
        </p:nvGrpSpPr>
        <p:grpSpPr>
          <a:xfrm>
            <a:off x="5908269" y="3476625"/>
            <a:ext cx="1313185" cy="3124200"/>
            <a:chOff x="5906765" y="3467100"/>
            <a:chExt cx="1313185" cy="3124200"/>
          </a:xfrm>
          <a:solidFill>
            <a:schemeClr val="accent1">
              <a:lumMod val="60000"/>
              <a:lumOff val="40000"/>
              <a:alpha val="56000"/>
            </a:schemeClr>
          </a:solidFill>
        </p:grpSpPr>
        <p:sp>
          <p:nvSpPr>
            <p:cNvPr id="12" name="Google Shape;5743;p70"/>
            <p:cNvSpPr/>
            <p:nvPr/>
          </p:nvSpPr>
          <p:spPr>
            <a:xfrm>
              <a:off x="5906765" y="4095557"/>
              <a:ext cx="1313185" cy="2495743"/>
            </a:xfrm>
            <a:custGeom>
              <a:avLst/>
              <a:gdLst/>
              <a:ahLst/>
              <a:cxnLst/>
              <a:rect l="l" t="t" r="r" b="b"/>
              <a:pathLst>
                <a:path w="77995" h="156544" extrusionOk="0">
                  <a:moveTo>
                    <a:pt x="18496" y="1"/>
                  </a:moveTo>
                  <a:cubicBezTo>
                    <a:pt x="8514" y="1"/>
                    <a:pt x="359" y="8123"/>
                    <a:pt x="327" y="18105"/>
                  </a:cubicBezTo>
                  <a:lnTo>
                    <a:pt x="33" y="74537"/>
                  </a:lnTo>
                  <a:cubicBezTo>
                    <a:pt x="0" y="78778"/>
                    <a:pt x="3425" y="82235"/>
                    <a:pt x="7666" y="82268"/>
                  </a:cubicBezTo>
                  <a:lnTo>
                    <a:pt x="7731" y="82268"/>
                  </a:lnTo>
                  <a:cubicBezTo>
                    <a:pt x="11939" y="82268"/>
                    <a:pt x="15364" y="78843"/>
                    <a:pt x="15397" y="74635"/>
                  </a:cubicBezTo>
                  <a:lnTo>
                    <a:pt x="15691" y="18170"/>
                  </a:lnTo>
                  <a:cubicBezTo>
                    <a:pt x="15691" y="17341"/>
                    <a:pt x="16344" y="16668"/>
                    <a:pt x="17166" y="16668"/>
                  </a:cubicBezTo>
                  <a:cubicBezTo>
                    <a:pt x="17185" y="16668"/>
                    <a:pt x="17204" y="16669"/>
                    <a:pt x="17224" y="16669"/>
                  </a:cubicBezTo>
                  <a:cubicBezTo>
                    <a:pt x="18039" y="16669"/>
                    <a:pt x="18724" y="17355"/>
                    <a:pt x="18724" y="18170"/>
                  </a:cubicBezTo>
                  <a:lnTo>
                    <a:pt x="18724" y="147345"/>
                  </a:lnTo>
                  <a:cubicBezTo>
                    <a:pt x="18724" y="152433"/>
                    <a:pt x="22867" y="156543"/>
                    <a:pt x="27956" y="156543"/>
                  </a:cubicBezTo>
                  <a:cubicBezTo>
                    <a:pt x="33044" y="156543"/>
                    <a:pt x="37187" y="152433"/>
                    <a:pt x="37187" y="147345"/>
                  </a:cubicBezTo>
                  <a:lnTo>
                    <a:pt x="37187" y="73656"/>
                  </a:lnTo>
                  <a:lnTo>
                    <a:pt x="41167" y="73656"/>
                  </a:lnTo>
                  <a:lnTo>
                    <a:pt x="41167" y="147345"/>
                  </a:lnTo>
                  <a:cubicBezTo>
                    <a:pt x="41167" y="152433"/>
                    <a:pt x="45277" y="156543"/>
                    <a:pt x="50365" y="156543"/>
                  </a:cubicBezTo>
                  <a:cubicBezTo>
                    <a:pt x="55454" y="156543"/>
                    <a:pt x="59597" y="152433"/>
                    <a:pt x="59597" y="147345"/>
                  </a:cubicBezTo>
                  <a:cubicBezTo>
                    <a:pt x="59597" y="25477"/>
                    <a:pt x="59434" y="95153"/>
                    <a:pt x="59434" y="18300"/>
                  </a:cubicBezTo>
                  <a:cubicBezTo>
                    <a:pt x="59434" y="17420"/>
                    <a:pt x="60119" y="16702"/>
                    <a:pt x="60967" y="16669"/>
                  </a:cubicBezTo>
                  <a:cubicBezTo>
                    <a:pt x="60988" y="16669"/>
                    <a:pt x="61009" y="16668"/>
                    <a:pt x="61030" y="16668"/>
                  </a:cubicBezTo>
                  <a:cubicBezTo>
                    <a:pt x="61882" y="16668"/>
                    <a:pt x="62567" y="17310"/>
                    <a:pt x="62631" y="18170"/>
                  </a:cubicBezTo>
                  <a:lnTo>
                    <a:pt x="62598" y="74570"/>
                  </a:lnTo>
                  <a:cubicBezTo>
                    <a:pt x="62598" y="78810"/>
                    <a:pt x="66023" y="82268"/>
                    <a:pt x="70264" y="82268"/>
                  </a:cubicBezTo>
                  <a:cubicBezTo>
                    <a:pt x="74504" y="82268"/>
                    <a:pt x="77962" y="78843"/>
                    <a:pt x="77962" y="74602"/>
                  </a:cubicBezTo>
                  <a:lnTo>
                    <a:pt x="77994" y="18137"/>
                  </a:lnTo>
                  <a:cubicBezTo>
                    <a:pt x="77994" y="18137"/>
                    <a:pt x="77994" y="18105"/>
                    <a:pt x="77994" y="18105"/>
                  </a:cubicBezTo>
                  <a:cubicBezTo>
                    <a:pt x="77962" y="8123"/>
                    <a:pt x="69807" y="1"/>
                    <a:pt x="5982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" name="Google Shape;5744;p70"/>
            <p:cNvSpPr/>
            <p:nvPr/>
          </p:nvSpPr>
          <p:spPr>
            <a:xfrm>
              <a:off x="6284974" y="3467100"/>
              <a:ext cx="536606" cy="507586"/>
            </a:xfrm>
            <a:custGeom>
              <a:avLst/>
              <a:gdLst/>
              <a:ahLst/>
              <a:cxnLst/>
              <a:rect l="l" t="t" r="r" b="b"/>
              <a:pathLst>
                <a:path w="31871" h="31838" extrusionOk="0">
                  <a:moveTo>
                    <a:pt x="15952" y="1"/>
                  </a:moveTo>
                  <a:cubicBezTo>
                    <a:pt x="7144" y="1"/>
                    <a:pt x="1" y="7112"/>
                    <a:pt x="1" y="15919"/>
                  </a:cubicBezTo>
                  <a:cubicBezTo>
                    <a:pt x="1" y="24694"/>
                    <a:pt x="7144" y="31838"/>
                    <a:pt x="15952" y="31838"/>
                  </a:cubicBezTo>
                  <a:cubicBezTo>
                    <a:pt x="24727" y="31838"/>
                    <a:pt x="31870" y="24694"/>
                    <a:pt x="31870" y="15919"/>
                  </a:cubicBezTo>
                  <a:cubicBezTo>
                    <a:pt x="31870" y="7112"/>
                    <a:pt x="24727" y="1"/>
                    <a:pt x="15952" y="1"/>
                  </a:cubicBezTo>
                  <a:close/>
                </a:path>
              </a:pathLst>
            </a:custGeom>
            <a:solidFill>
              <a:schemeClr val="accent1">
                <a:lumMod val="75000"/>
                <a:alpha val="44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3" name="Zástupný symbol pro obsah 8"/>
          <p:cNvSpPr txBox="1">
            <a:spLocks/>
          </p:cNvSpPr>
          <p:nvPr/>
        </p:nvSpPr>
        <p:spPr>
          <a:xfrm>
            <a:off x="8564477" y="3502025"/>
            <a:ext cx="2409825" cy="5175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cs-CZ" alt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zkušený řidič</a:t>
            </a:r>
            <a:endParaRPr lang="cs-CZ" dirty="0">
              <a:solidFill>
                <a:schemeClr val="tx1">
                  <a:lumMod val="75000"/>
                  <a:lumOff val="25000"/>
                </a:schemeClr>
              </a:solidFill>
              <a:latin typeface="Bahnschrift Condensed" panose="020B0502040204020203" pitchFamily="34" charset="0"/>
            </a:endParaRPr>
          </a:p>
        </p:txBody>
      </p:sp>
      <p:sp>
        <p:nvSpPr>
          <p:cNvPr id="24" name="Zástupný symbol pro obsah 8"/>
          <p:cNvSpPr txBox="1">
            <a:spLocks/>
          </p:cNvSpPr>
          <p:nvPr/>
        </p:nvSpPr>
        <p:spPr>
          <a:xfrm>
            <a:off x="8602577" y="4665077"/>
            <a:ext cx="2409825" cy="5175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cs-CZ" alt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bezúhonnost</a:t>
            </a:r>
            <a:endParaRPr lang="cs-CZ" dirty="0">
              <a:solidFill>
                <a:schemeClr val="tx1">
                  <a:lumMod val="75000"/>
                  <a:lumOff val="25000"/>
                </a:schemeClr>
              </a:solidFill>
              <a:latin typeface="Bahnschrift Condensed" panose="020B0502040204020203" pitchFamily="34" charset="0"/>
            </a:endParaRPr>
          </a:p>
        </p:txBody>
      </p:sp>
      <p:sp>
        <p:nvSpPr>
          <p:cNvPr id="25" name="Zástupný symbol pro obsah 8"/>
          <p:cNvSpPr txBox="1">
            <a:spLocks/>
          </p:cNvSpPr>
          <p:nvPr/>
        </p:nvSpPr>
        <p:spPr>
          <a:xfrm>
            <a:off x="8602577" y="5816600"/>
            <a:ext cx="2409825" cy="5175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cs-CZ" alt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dohledatelnost</a:t>
            </a:r>
            <a:endParaRPr lang="cs-CZ" dirty="0">
              <a:solidFill>
                <a:schemeClr val="tx1">
                  <a:lumMod val="75000"/>
                  <a:lumOff val="25000"/>
                </a:schemeClr>
              </a:solidFill>
              <a:latin typeface="Bahnschrift Condensed" panose="020B0502040204020203" pitchFamily="34" charset="0"/>
            </a:endParaRPr>
          </a:p>
        </p:txBody>
      </p:sp>
      <p:sp>
        <p:nvSpPr>
          <p:cNvPr id="26" name="Google Shape;1700;p65" descr="Timeline background shape"/>
          <p:cNvSpPr/>
          <p:nvPr/>
        </p:nvSpPr>
        <p:spPr>
          <a:xfrm>
            <a:off x="7548714" y="3751623"/>
            <a:ext cx="960300" cy="45719"/>
          </a:xfrm>
          <a:prstGeom prst="homePlate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" name="Google Shape;1700;p65" descr="Timeline background shape"/>
          <p:cNvSpPr/>
          <p:nvPr/>
        </p:nvSpPr>
        <p:spPr>
          <a:xfrm>
            <a:off x="7558239" y="4867050"/>
            <a:ext cx="960300" cy="45719"/>
          </a:xfrm>
          <a:prstGeom prst="homePlate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" name="Google Shape;1700;p65" descr="Timeline background shape"/>
          <p:cNvSpPr/>
          <p:nvPr/>
        </p:nvSpPr>
        <p:spPr>
          <a:xfrm>
            <a:off x="7567764" y="6037623"/>
            <a:ext cx="960300" cy="45719"/>
          </a:xfrm>
          <a:prstGeom prst="homePlate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684084569"/>
      </p:ext>
    </p:extLst>
  </p:cSld>
  <p:clrMapOvr>
    <a:masterClrMapping/>
  </p:clrMapOvr>
  <p:transition spd="slow">
    <p:cover dir="u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43" t="29929" r="11797" b="20036"/>
          <a:stretch/>
        </p:blipFill>
        <p:spPr>
          <a:xfrm>
            <a:off x="0" y="0"/>
            <a:ext cx="12215735" cy="4124325"/>
          </a:xfrm>
          <a:prstGeom prst="rect">
            <a:avLst/>
          </a:prstGeom>
        </p:spPr>
      </p:pic>
      <p:sp>
        <p:nvSpPr>
          <p:cNvPr id="9" name="Zástupný symbol pro obsah 8"/>
          <p:cNvSpPr>
            <a:spLocks noGrp="1"/>
          </p:cNvSpPr>
          <p:nvPr>
            <p:ph idx="1"/>
          </p:nvPr>
        </p:nvSpPr>
        <p:spPr>
          <a:xfrm>
            <a:off x="767095" y="5447340"/>
            <a:ext cx="2695575" cy="1250950"/>
          </a:xfrm>
        </p:spPr>
        <p:txBody>
          <a:bodyPr>
            <a:normAutofit/>
          </a:bodyPr>
          <a:lstStyle/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cs-CZ" altLang="cs-CZ" sz="22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m</a:t>
            </a:r>
            <a:r>
              <a:rPr lang="cs-CZ" alt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ožnost zahájení kurzu autoškoly </a:t>
            </a: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cs-CZ" alt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již od 15,5 let</a:t>
            </a:r>
            <a:endParaRPr lang="cs-CZ" altLang="cs-CZ" sz="2200" dirty="0">
              <a:solidFill>
                <a:schemeClr val="tx1">
                  <a:lumMod val="75000"/>
                  <a:lumOff val="25000"/>
                </a:schemeClr>
              </a:solidFill>
              <a:latin typeface="Bahnschrift Condensed" panose="020B0502040204020203" pitchFamily="34" charset="0"/>
            </a:endParaRPr>
          </a:p>
        </p:txBody>
      </p:sp>
      <p:sp>
        <p:nvSpPr>
          <p:cNvPr id="31" name="Zástupný symbol pro obsah 8"/>
          <p:cNvSpPr txBox="1">
            <a:spLocks/>
          </p:cNvSpPr>
          <p:nvPr/>
        </p:nvSpPr>
        <p:spPr>
          <a:xfrm>
            <a:off x="8506932" y="5391962"/>
            <a:ext cx="2695575" cy="125095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cs-CZ" alt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automatický </a:t>
            </a:r>
            <a:r>
              <a:rPr lang="cs-CZ" altLang="cs-CZ" sz="22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konec lhůty pro jízdu s mentorem a </a:t>
            </a:r>
            <a:r>
              <a:rPr lang="cs-CZ" alt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začátek samostatného </a:t>
            </a:r>
            <a:r>
              <a:rPr lang="cs-CZ" altLang="cs-CZ" sz="22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řízení </a:t>
            </a:r>
            <a:r>
              <a:rPr lang="cs-CZ" alt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bez mentora</a:t>
            </a:r>
            <a:endParaRPr lang="cs-CZ" altLang="cs-CZ" sz="2200" dirty="0">
              <a:solidFill>
                <a:schemeClr val="tx1">
                  <a:lumMod val="75000"/>
                  <a:lumOff val="25000"/>
                </a:schemeClr>
              </a:solidFill>
              <a:latin typeface="Bahnschrift Condensed" panose="020B0502040204020203" pitchFamily="34" charset="0"/>
            </a:endParaRPr>
          </a:p>
        </p:txBody>
      </p:sp>
      <p:sp>
        <p:nvSpPr>
          <p:cNvPr id="32" name="Zástupný symbol pro obsah 8"/>
          <p:cNvSpPr txBox="1">
            <a:spLocks/>
          </p:cNvSpPr>
          <p:nvPr/>
        </p:nvSpPr>
        <p:spPr>
          <a:xfrm>
            <a:off x="4509313" y="5415442"/>
            <a:ext cx="2695575" cy="12509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cs-CZ" alt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zkouška, vydání </a:t>
            </a:r>
            <a:r>
              <a:rPr lang="cs-CZ" altLang="cs-CZ" sz="22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řidičského </a:t>
            </a:r>
            <a:r>
              <a:rPr lang="cs-CZ" alt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průkazu a následné řízení</a:t>
            </a: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cs-CZ" alt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s doprovodnou osobou </a:t>
            </a:r>
            <a:endParaRPr lang="cs-CZ" altLang="cs-CZ" sz="2200" dirty="0">
              <a:solidFill>
                <a:schemeClr val="tx1">
                  <a:lumMod val="75000"/>
                  <a:lumOff val="25000"/>
                </a:schemeClr>
              </a:solidFill>
              <a:latin typeface="Bahnschrift Condensed" panose="020B0502040204020203" pitchFamily="34" charset="0"/>
            </a:endParaRPr>
          </a:p>
        </p:txBody>
      </p:sp>
      <p:sp>
        <p:nvSpPr>
          <p:cNvPr id="6" name="Ovál 5"/>
          <p:cNvSpPr/>
          <p:nvPr/>
        </p:nvSpPr>
        <p:spPr>
          <a:xfrm>
            <a:off x="1619250" y="4210050"/>
            <a:ext cx="1038225" cy="962025"/>
          </a:xfrm>
          <a:prstGeom prst="ellipse">
            <a:avLst/>
          </a:prstGeom>
          <a:noFill/>
          <a:ln w="381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3200" dirty="0">
              <a:latin typeface="Bahnschrift Condensed" panose="020B0502040204020203" pitchFamily="34" charset="0"/>
            </a:endParaRPr>
          </a:p>
        </p:txBody>
      </p:sp>
      <p:sp>
        <p:nvSpPr>
          <p:cNvPr id="7" name="TextovéPole 6"/>
          <p:cNvSpPr txBox="1"/>
          <p:nvPr/>
        </p:nvSpPr>
        <p:spPr>
          <a:xfrm>
            <a:off x="1676400" y="4257675"/>
            <a:ext cx="9906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48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15,5</a:t>
            </a:r>
            <a:endParaRPr lang="cs-CZ" sz="4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5" name="Ovál 34"/>
          <p:cNvSpPr/>
          <p:nvPr/>
        </p:nvSpPr>
        <p:spPr>
          <a:xfrm>
            <a:off x="5391150" y="4210050"/>
            <a:ext cx="1038225" cy="962025"/>
          </a:xfrm>
          <a:prstGeom prst="ellipse">
            <a:avLst/>
          </a:prstGeom>
          <a:noFill/>
          <a:ln w="381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3200" dirty="0">
              <a:latin typeface="Bahnschrift Condensed" panose="020B0502040204020203" pitchFamily="34" charset="0"/>
            </a:endParaRPr>
          </a:p>
        </p:txBody>
      </p:sp>
      <p:sp>
        <p:nvSpPr>
          <p:cNvPr id="36" name="TextovéPole 35"/>
          <p:cNvSpPr txBox="1"/>
          <p:nvPr/>
        </p:nvSpPr>
        <p:spPr>
          <a:xfrm>
            <a:off x="5610224" y="4257675"/>
            <a:ext cx="82867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4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17</a:t>
            </a:r>
            <a:endParaRPr lang="cs-CZ" sz="4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7" name="Ovál 36"/>
          <p:cNvSpPr/>
          <p:nvPr/>
        </p:nvSpPr>
        <p:spPr>
          <a:xfrm>
            <a:off x="9305925" y="4200525"/>
            <a:ext cx="1038225" cy="962025"/>
          </a:xfrm>
          <a:prstGeom prst="ellipse">
            <a:avLst/>
          </a:prstGeom>
          <a:noFill/>
          <a:ln w="381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3200" dirty="0">
              <a:latin typeface="Bahnschrift Condensed" panose="020B0502040204020203" pitchFamily="34" charset="0"/>
            </a:endParaRPr>
          </a:p>
        </p:txBody>
      </p:sp>
      <p:sp>
        <p:nvSpPr>
          <p:cNvPr id="38" name="TextovéPole 37"/>
          <p:cNvSpPr txBox="1"/>
          <p:nvPr/>
        </p:nvSpPr>
        <p:spPr>
          <a:xfrm>
            <a:off x="9516583" y="4269416"/>
            <a:ext cx="80763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4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18</a:t>
            </a:r>
            <a:endParaRPr lang="cs-CZ" sz="4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11" name="Přímá spojnice 10"/>
          <p:cNvCxnSpPr/>
          <p:nvPr/>
        </p:nvCxnSpPr>
        <p:spPr>
          <a:xfrm>
            <a:off x="2981325" y="4705350"/>
            <a:ext cx="1933575" cy="9525"/>
          </a:xfrm>
          <a:prstGeom prst="line">
            <a:avLst/>
          </a:prstGeom>
          <a:ln w="28575">
            <a:solidFill>
              <a:schemeClr val="tx1">
                <a:lumMod val="75000"/>
                <a:lumOff val="2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Přímá spojnice 38"/>
          <p:cNvCxnSpPr/>
          <p:nvPr/>
        </p:nvCxnSpPr>
        <p:spPr>
          <a:xfrm>
            <a:off x="7000875" y="4714875"/>
            <a:ext cx="1933575" cy="9525"/>
          </a:xfrm>
          <a:prstGeom prst="line">
            <a:avLst/>
          </a:prstGeom>
          <a:ln w="28575">
            <a:solidFill>
              <a:schemeClr val="tx1">
                <a:lumMod val="75000"/>
                <a:lumOff val="2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1222326"/>
      </p:ext>
    </p:extLst>
  </p:cSld>
  <p:clrMapOvr>
    <a:masterClrMapping/>
  </p:clrMapOvr>
  <p:transition spd="slow">
    <p:cover dir="u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cs-CZ"/>
          </a:p>
        </p:txBody>
      </p:sp>
      <p:pic>
        <p:nvPicPr>
          <p:cNvPr id="4" name="Obrázek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4091" y="0"/>
            <a:ext cx="10307909" cy="6858000"/>
          </a:xfrm>
          <a:prstGeom prst="rect">
            <a:avLst/>
          </a:prstGeom>
        </p:spPr>
      </p:pic>
      <p:sp>
        <p:nvSpPr>
          <p:cNvPr id="5" name="Obdélník 9"/>
          <p:cNvSpPr/>
          <p:nvPr/>
        </p:nvSpPr>
        <p:spPr>
          <a:xfrm>
            <a:off x="0" y="0"/>
            <a:ext cx="4867276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82475 w 12192000"/>
              <a:gd name="connsiteY2" fmla="*/ 3333750 h 6858000"/>
              <a:gd name="connsiteX3" fmla="*/ 12192000 w 12192000"/>
              <a:gd name="connsiteY3" fmla="*/ 6858000 h 6858000"/>
              <a:gd name="connsiteX4" fmla="*/ 0 w 12192000"/>
              <a:gd name="connsiteY4" fmla="*/ 6858000 h 6858000"/>
              <a:gd name="connsiteX5" fmla="*/ 0 w 12192000"/>
              <a:gd name="connsiteY5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0220325 w 12192000"/>
              <a:gd name="connsiteY2" fmla="*/ 3371850 h 6858000"/>
              <a:gd name="connsiteX3" fmla="*/ 12192000 w 12192000"/>
              <a:gd name="connsiteY3" fmla="*/ 6858000 h 6858000"/>
              <a:gd name="connsiteX4" fmla="*/ 0 w 12192000"/>
              <a:gd name="connsiteY4" fmla="*/ 6858000 h 6858000"/>
              <a:gd name="connsiteX5" fmla="*/ 0 w 12192000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0220325" y="337185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6" name="Nadpis 1"/>
          <p:cNvSpPr txBox="1">
            <a:spLocks/>
          </p:cNvSpPr>
          <p:nvPr/>
        </p:nvSpPr>
        <p:spPr>
          <a:xfrm>
            <a:off x="104774" y="155575"/>
            <a:ext cx="56483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cs-CZ" sz="5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ŘIDIČÁK NA ZKOUŠKU</a:t>
            </a:r>
            <a:endParaRPr lang="cs-CZ" sz="5000" dirty="0">
              <a:solidFill>
                <a:schemeClr val="tx1">
                  <a:lumMod val="75000"/>
                  <a:lumOff val="25000"/>
                </a:schemeClr>
              </a:solidFill>
              <a:latin typeface="Bahnschrift Condensed" panose="020B0502040204020203" pitchFamily="34" charset="0"/>
            </a:endParaRPr>
          </a:p>
        </p:txBody>
      </p:sp>
      <p:sp>
        <p:nvSpPr>
          <p:cNvPr id="7" name="Zástupný symbol pro obsah 8"/>
          <p:cNvSpPr txBox="1">
            <a:spLocks/>
          </p:cNvSpPr>
          <p:nvPr/>
        </p:nvSpPr>
        <p:spPr>
          <a:xfrm>
            <a:off x="171449" y="1711325"/>
            <a:ext cx="3752851" cy="33369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cs-CZ" altLang="cs-CZ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po dobu </a:t>
            </a:r>
            <a:r>
              <a:rPr lang="cs-CZ" altLang="cs-CZ" sz="4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2</a:t>
            </a:r>
            <a:r>
              <a:rPr lang="cs-CZ" altLang="cs-CZ" sz="3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 </a:t>
            </a:r>
            <a:r>
              <a:rPr lang="cs-CZ" altLang="cs-CZ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let od udělení řidičského </a:t>
            </a:r>
            <a:r>
              <a:rPr lang="cs-CZ" altLang="cs-CZ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oprávnění povinnost </a:t>
            </a:r>
            <a:r>
              <a:rPr lang="cs-CZ" altLang="cs-CZ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absolvovat dopravně psychologickou </a:t>
            </a:r>
            <a:r>
              <a:rPr lang="cs-CZ" altLang="cs-CZ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přednášku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cs-CZ" altLang="cs-CZ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a </a:t>
            </a:r>
            <a:r>
              <a:rPr lang="cs-CZ" altLang="cs-CZ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školení začínajících </a:t>
            </a:r>
            <a:r>
              <a:rPr lang="cs-CZ" altLang="cs-CZ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řidičů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cs-CZ" altLang="cs-CZ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v </a:t>
            </a:r>
            <a:r>
              <a:rPr lang="cs-CZ" altLang="cs-CZ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případě spáchání </a:t>
            </a:r>
            <a:r>
              <a:rPr lang="cs-CZ" altLang="cs-CZ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přestupku/trestného činu 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cs-CZ" altLang="cs-CZ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za 6 bodů nebo se zákazem řízení</a:t>
            </a:r>
            <a:endParaRPr lang="cs-CZ" sz="2400" dirty="0">
              <a:solidFill>
                <a:schemeClr val="tx1">
                  <a:lumMod val="75000"/>
                  <a:lumOff val="25000"/>
                </a:schemeClr>
              </a:solidFill>
              <a:latin typeface="Bahnschrift Condensed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1099520"/>
      </p:ext>
    </p:extLst>
  </p:cSld>
  <p:clrMapOvr>
    <a:masterClrMapping/>
  </p:clrMapOvr>
  <p:transition spd="slow">
    <p:cover dir="u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oogle Shape;1707;p65"/>
          <p:cNvGrpSpPr/>
          <p:nvPr/>
        </p:nvGrpSpPr>
        <p:grpSpPr>
          <a:xfrm>
            <a:off x="4169933" y="2353970"/>
            <a:ext cx="3043154" cy="3167206"/>
            <a:chOff x="5678771" y="2527788"/>
            <a:chExt cx="808329" cy="805800"/>
          </a:xfrm>
        </p:grpSpPr>
        <p:sp>
          <p:nvSpPr>
            <p:cNvPr id="8" name="Google Shape;1708;p65"/>
            <p:cNvSpPr/>
            <p:nvPr/>
          </p:nvSpPr>
          <p:spPr>
            <a:xfrm>
              <a:off x="5681300" y="2527788"/>
              <a:ext cx="805800" cy="805800"/>
            </a:xfrm>
            <a:prstGeom prst="ellipse">
              <a:avLst/>
            </a:prstGeom>
            <a:solidFill>
              <a:srgbClr val="FF66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9" name="Google Shape;1709;p65"/>
            <p:cNvSpPr/>
            <p:nvPr/>
          </p:nvSpPr>
          <p:spPr>
            <a:xfrm>
              <a:off x="5678771" y="2527788"/>
              <a:ext cx="805800" cy="805800"/>
            </a:xfrm>
            <a:prstGeom prst="pie">
              <a:avLst>
                <a:gd name="adj1" fmla="val 5377219"/>
                <a:gd name="adj2" fmla="val 16200000"/>
              </a:avLst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</p:txBody>
        </p:sp>
      </p:grpSp>
      <p:sp>
        <p:nvSpPr>
          <p:cNvPr id="11" name="Zástupný symbol pro obsah 8"/>
          <p:cNvSpPr txBox="1">
            <a:spLocks/>
          </p:cNvSpPr>
          <p:nvPr/>
        </p:nvSpPr>
        <p:spPr>
          <a:xfrm>
            <a:off x="7339128" y="2642338"/>
            <a:ext cx="4152899" cy="3032124"/>
          </a:xfrm>
          <a:prstGeom prst="rect">
            <a:avLst/>
          </a:prstGeom>
        </p:spPr>
        <p:txBody>
          <a:bodyPr vert="horz" lIns="91440" tIns="45720" rIns="91440" bIns="45720" rtlCol="0">
            <a:normAutofit fontScale="6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0000"/>
              </a:lnSpc>
              <a:spcBef>
                <a:spcPts val="0"/>
              </a:spcBef>
              <a:buNone/>
            </a:pPr>
            <a:r>
              <a:rPr lang="cs-CZ" altLang="cs-CZ" sz="6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DOPRAVNĚ PSYCHOLOGICKÁ PŘEDNÁŠKA</a:t>
            </a:r>
          </a:p>
          <a:p>
            <a:pPr marL="0" indent="0" algn="ctr">
              <a:lnSpc>
                <a:spcPct val="120000"/>
              </a:lnSpc>
              <a:spcBef>
                <a:spcPts val="0"/>
              </a:spcBef>
              <a:buNone/>
            </a:pPr>
            <a:r>
              <a:rPr lang="cs-CZ" alt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vedou ji dopravní psychologové a vyučují se</a:t>
            </a:r>
            <a:endParaRPr lang="cs-CZ" altLang="cs-CZ" dirty="0">
              <a:solidFill>
                <a:schemeClr val="tx1">
                  <a:lumMod val="75000"/>
                  <a:lumOff val="25000"/>
                </a:schemeClr>
              </a:solidFill>
              <a:latin typeface="Bahnschrift Condensed" panose="020B0502040204020203" pitchFamily="34" charset="0"/>
            </a:endParaRPr>
          </a:p>
          <a:p>
            <a:pPr marL="0" indent="0" algn="ctr">
              <a:lnSpc>
                <a:spcPct val="120000"/>
              </a:lnSpc>
              <a:spcBef>
                <a:spcPts val="0"/>
              </a:spcBef>
              <a:buNone/>
            </a:pPr>
            <a:r>
              <a:rPr lang="cs-CZ" alt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příčiny </a:t>
            </a:r>
            <a:r>
              <a:rPr lang="cs-CZ" altLang="cs-CZ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dopravních </a:t>
            </a:r>
            <a:r>
              <a:rPr lang="cs-CZ" alt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nehod, jejich předcházení, </a:t>
            </a:r>
            <a:r>
              <a:rPr lang="cs-CZ" altLang="cs-CZ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prevence a řešení mimořádných událostí v </a:t>
            </a:r>
            <a:r>
              <a:rPr lang="cs-CZ" alt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provozu</a:t>
            </a:r>
            <a:endParaRPr lang="cs-CZ" dirty="0">
              <a:solidFill>
                <a:schemeClr val="tx1">
                  <a:lumMod val="75000"/>
                  <a:lumOff val="25000"/>
                </a:schemeClr>
              </a:solidFill>
              <a:latin typeface="Bahnschrift Condensed" panose="020B0502040204020203" pitchFamily="34" charset="0"/>
            </a:endParaRPr>
          </a:p>
        </p:txBody>
      </p:sp>
      <p:sp>
        <p:nvSpPr>
          <p:cNvPr id="12" name="Zástupný symbol pro obsah 8"/>
          <p:cNvSpPr txBox="1">
            <a:spLocks/>
          </p:cNvSpPr>
          <p:nvPr/>
        </p:nvSpPr>
        <p:spPr>
          <a:xfrm>
            <a:off x="448788" y="2828978"/>
            <a:ext cx="3352801" cy="27273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cs-CZ" altLang="cs-CZ" sz="4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ŠKOLENÍ ZAČÍNAJÍCÍCH ŘIDIČŮ</a:t>
            </a:r>
          </a:p>
          <a:p>
            <a:pPr marL="0" indent="0" algn="ctr">
              <a:buNone/>
            </a:pPr>
            <a:r>
              <a:rPr lang="cs-CZ" altLang="cs-CZ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bude probíhat v autoškolách a zahrnuje teorii, jízdu </a:t>
            </a:r>
            <a:r>
              <a:rPr lang="cs-CZ" altLang="cs-CZ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v </a:t>
            </a:r>
            <a:r>
              <a:rPr lang="cs-CZ" altLang="cs-CZ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provozu a vyhodnocení </a:t>
            </a:r>
            <a:r>
              <a:rPr lang="cs-CZ" altLang="cs-CZ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jízdy</a:t>
            </a:r>
          </a:p>
        </p:txBody>
      </p:sp>
      <p:sp>
        <p:nvSpPr>
          <p:cNvPr id="13" name="TextovéPole 12"/>
          <p:cNvSpPr txBox="1"/>
          <p:nvPr/>
        </p:nvSpPr>
        <p:spPr>
          <a:xfrm>
            <a:off x="5818672" y="3281915"/>
            <a:ext cx="104996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7200" b="1" dirty="0" smtClean="0">
                <a:solidFill>
                  <a:srgbClr val="FFCCFF"/>
                </a:solidFill>
                <a:latin typeface="Bahnschrift Condensed" panose="020B0502040204020203" pitchFamily="34" charset="0"/>
              </a:rPr>
              <a:t>4h</a:t>
            </a:r>
            <a:endParaRPr lang="cs-CZ" sz="3200" b="1" dirty="0">
              <a:solidFill>
                <a:srgbClr val="FFCCFF"/>
              </a:solidFill>
              <a:latin typeface="Bahnschrift Condensed" panose="020B0502040204020203" pitchFamily="34" charset="0"/>
            </a:endParaRPr>
          </a:p>
        </p:txBody>
      </p:sp>
      <p:sp>
        <p:nvSpPr>
          <p:cNvPr id="14" name="TextovéPole 13"/>
          <p:cNvSpPr txBox="1"/>
          <p:nvPr/>
        </p:nvSpPr>
        <p:spPr>
          <a:xfrm>
            <a:off x="4589947" y="3262865"/>
            <a:ext cx="104996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7200" dirty="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Bahnschrift Condensed" panose="020B0502040204020203" pitchFamily="34" charset="0"/>
              </a:rPr>
              <a:t>4h</a:t>
            </a:r>
            <a:endParaRPr lang="cs-CZ" sz="3200" dirty="0">
              <a:solidFill>
                <a:schemeClr val="accent1">
                  <a:lumMod val="40000"/>
                  <a:lumOff val="60000"/>
                </a:schemeClr>
              </a:solidFill>
              <a:latin typeface="Bahnschrift Condensed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6208555"/>
      </p:ext>
    </p:extLst>
  </p:cSld>
  <p:clrMapOvr>
    <a:masterClrMapping/>
  </p:clrMapOvr>
  <p:transition spd="slow">
    <p:cover dir="u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895946" y="355600"/>
            <a:ext cx="6400800" cy="1325563"/>
          </a:xfrm>
        </p:spPr>
        <p:txBody>
          <a:bodyPr>
            <a:normAutofit/>
          </a:bodyPr>
          <a:lstStyle/>
          <a:p>
            <a:r>
              <a:rPr lang="cs-CZ" sz="6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HARMONOGRAM</a:t>
            </a:r>
            <a:endParaRPr lang="cs-CZ" sz="4800" dirty="0">
              <a:solidFill>
                <a:schemeClr val="tx1">
                  <a:lumMod val="75000"/>
                  <a:lumOff val="25000"/>
                </a:schemeClr>
              </a:solidFill>
              <a:latin typeface="Bahnschrift Condensed" panose="020B0502040204020203" pitchFamily="34" charset="0"/>
            </a:endParaRP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7179471" y="4993897"/>
            <a:ext cx="2019300" cy="895350"/>
          </a:xfrm>
        </p:spPr>
        <p:txBody>
          <a:bodyPr>
            <a:noAutofit/>
          </a:bodyPr>
          <a:lstStyle/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cs-CZ" sz="22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navrhovaný počátek </a:t>
            </a: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cs-CZ" sz="22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platnosti novely</a:t>
            </a: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endParaRPr lang="cs-CZ" sz="2200" dirty="0">
              <a:solidFill>
                <a:schemeClr val="tx1">
                  <a:lumMod val="75000"/>
                  <a:lumOff val="25000"/>
                </a:schemeClr>
              </a:solidFill>
              <a:latin typeface="Bahnschrift Condensed" panose="020B0502040204020203" pitchFamily="34" charset="0"/>
            </a:endParaRPr>
          </a:p>
        </p:txBody>
      </p:sp>
      <p:grpSp>
        <p:nvGrpSpPr>
          <p:cNvPr id="4" name="Google Shape;4697;p67"/>
          <p:cNvGrpSpPr/>
          <p:nvPr/>
        </p:nvGrpSpPr>
        <p:grpSpPr>
          <a:xfrm>
            <a:off x="2284452" y="2405313"/>
            <a:ext cx="6860050" cy="2305052"/>
            <a:chOff x="5279073" y="2101012"/>
            <a:chExt cx="3175851" cy="1044091"/>
          </a:xfrm>
        </p:grpSpPr>
        <p:sp>
          <p:nvSpPr>
            <p:cNvPr id="9" name="Google Shape;4702;p67"/>
            <p:cNvSpPr/>
            <p:nvPr/>
          </p:nvSpPr>
          <p:spPr>
            <a:xfrm rot="10800000">
              <a:off x="7410780" y="2622683"/>
              <a:ext cx="1044144" cy="522420"/>
            </a:xfrm>
            <a:custGeom>
              <a:avLst/>
              <a:gdLst/>
              <a:ahLst/>
              <a:cxnLst/>
              <a:rect l="l" t="t" r="r" b="b"/>
              <a:pathLst>
                <a:path w="44066" h="22050" fill="none" extrusionOk="0">
                  <a:moveTo>
                    <a:pt x="1" y="22050"/>
                  </a:moveTo>
                  <a:cubicBezTo>
                    <a:pt x="1" y="9874"/>
                    <a:pt x="9874" y="1"/>
                    <a:pt x="22050" y="1"/>
                  </a:cubicBezTo>
                  <a:cubicBezTo>
                    <a:pt x="34192" y="1"/>
                    <a:pt x="44065" y="9874"/>
                    <a:pt x="44065" y="22050"/>
                  </a:cubicBezTo>
                </a:path>
              </a:pathLst>
            </a:custGeom>
            <a:noFill/>
            <a:ln w="20850" cap="rnd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3335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" name="Google Shape;4703;p67"/>
            <p:cNvSpPr/>
            <p:nvPr/>
          </p:nvSpPr>
          <p:spPr>
            <a:xfrm rot="10800000">
              <a:off x="6366656" y="2101012"/>
              <a:ext cx="1044144" cy="521638"/>
            </a:xfrm>
            <a:custGeom>
              <a:avLst/>
              <a:gdLst/>
              <a:ahLst/>
              <a:cxnLst/>
              <a:rect l="l" t="t" r="r" b="b"/>
              <a:pathLst>
                <a:path w="44066" h="22017" fill="none" extrusionOk="0">
                  <a:moveTo>
                    <a:pt x="44065" y="1"/>
                  </a:moveTo>
                  <a:cubicBezTo>
                    <a:pt x="44065" y="12176"/>
                    <a:pt x="34191" y="22016"/>
                    <a:pt x="22049" y="22016"/>
                  </a:cubicBezTo>
                  <a:cubicBezTo>
                    <a:pt x="9874" y="22016"/>
                    <a:pt x="0" y="12176"/>
                    <a:pt x="0" y="1"/>
                  </a:cubicBezTo>
                </a:path>
              </a:pathLst>
            </a:custGeom>
            <a:noFill/>
            <a:ln w="20850" cap="rnd" cmpd="sng">
              <a:solidFill>
                <a:srgbClr val="FF66CC"/>
              </a:solidFill>
              <a:prstDash val="solid"/>
              <a:miter lim="3335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" name="Google Shape;4704;p67"/>
            <p:cNvSpPr/>
            <p:nvPr/>
          </p:nvSpPr>
          <p:spPr>
            <a:xfrm rot="10800000">
              <a:off x="5322557" y="2622683"/>
              <a:ext cx="1044120" cy="522420"/>
            </a:xfrm>
            <a:custGeom>
              <a:avLst/>
              <a:gdLst/>
              <a:ahLst/>
              <a:cxnLst/>
              <a:rect l="l" t="t" r="r" b="b"/>
              <a:pathLst>
                <a:path w="44065" h="22050" fill="none" extrusionOk="0">
                  <a:moveTo>
                    <a:pt x="0" y="22050"/>
                  </a:moveTo>
                  <a:cubicBezTo>
                    <a:pt x="0" y="9874"/>
                    <a:pt x="9874" y="1"/>
                    <a:pt x="22049" y="1"/>
                  </a:cubicBezTo>
                  <a:cubicBezTo>
                    <a:pt x="34191" y="1"/>
                    <a:pt x="44065" y="9874"/>
                    <a:pt x="44065" y="22050"/>
                  </a:cubicBezTo>
                </a:path>
              </a:pathLst>
            </a:custGeom>
            <a:noFill/>
            <a:ln w="20850" cap="rnd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3335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" name="Google Shape;4706;p67"/>
            <p:cNvSpPr/>
            <p:nvPr/>
          </p:nvSpPr>
          <p:spPr>
            <a:xfrm rot="10800000">
              <a:off x="7367296" y="2570459"/>
              <a:ext cx="86984" cy="86975"/>
            </a:xfrm>
            <a:custGeom>
              <a:avLst/>
              <a:gdLst/>
              <a:ahLst/>
              <a:cxnLst/>
              <a:rect l="l" t="t" r="r" b="b"/>
              <a:pathLst>
                <a:path w="3671" h="3671" extrusionOk="0">
                  <a:moveTo>
                    <a:pt x="1835" y="1"/>
                  </a:moveTo>
                  <a:cubicBezTo>
                    <a:pt x="835" y="1"/>
                    <a:pt x="1" y="835"/>
                    <a:pt x="1" y="1836"/>
                  </a:cubicBezTo>
                  <a:cubicBezTo>
                    <a:pt x="1" y="2870"/>
                    <a:pt x="835" y="3670"/>
                    <a:pt x="1835" y="3670"/>
                  </a:cubicBezTo>
                  <a:cubicBezTo>
                    <a:pt x="2869" y="3670"/>
                    <a:pt x="3670" y="2870"/>
                    <a:pt x="3670" y="1836"/>
                  </a:cubicBezTo>
                  <a:cubicBezTo>
                    <a:pt x="3670" y="835"/>
                    <a:pt x="2836" y="1"/>
                    <a:pt x="1835" y="1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" name="Google Shape;4707;p67"/>
            <p:cNvSpPr/>
            <p:nvPr/>
          </p:nvSpPr>
          <p:spPr>
            <a:xfrm rot="10800000">
              <a:off x="6323197" y="2570459"/>
              <a:ext cx="86961" cy="86975"/>
            </a:xfrm>
            <a:custGeom>
              <a:avLst/>
              <a:gdLst/>
              <a:ahLst/>
              <a:cxnLst/>
              <a:rect l="l" t="t" r="r" b="b"/>
              <a:pathLst>
                <a:path w="3670" h="3671" extrusionOk="0">
                  <a:moveTo>
                    <a:pt x="1835" y="1"/>
                  </a:moveTo>
                  <a:cubicBezTo>
                    <a:pt x="834" y="1"/>
                    <a:pt x="1" y="835"/>
                    <a:pt x="1" y="1836"/>
                  </a:cubicBezTo>
                  <a:cubicBezTo>
                    <a:pt x="1" y="2870"/>
                    <a:pt x="834" y="3670"/>
                    <a:pt x="1835" y="3670"/>
                  </a:cubicBezTo>
                  <a:cubicBezTo>
                    <a:pt x="2836" y="3670"/>
                    <a:pt x="3670" y="2870"/>
                    <a:pt x="3670" y="1836"/>
                  </a:cubicBezTo>
                  <a:cubicBezTo>
                    <a:pt x="3670" y="835"/>
                    <a:pt x="2869" y="1"/>
                    <a:pt x="1835" y="1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" name="Google Shape;4708;p67"/>
            <p:cNvSpPr/>
            <p:nvPr/>
          </p:nvSpPr>
          <p:spPr>
            <a:xfrm rot="10800000">
              <a:off x="5279073" y="2570459"/>
              <a:ext cx="86961" cy="86975"/>
            </a:xfrm>
            <a:custGeom>
              <a:avLst/>
              <a:gdLst/>
              <a:ahLst/>
              <a:cxnLst/>
              <a:rect l="l" t="t" r="r" b="b"/>
              <a:pathLst>
                <a:path w="3670" h="3671" extrusionOk="0">
                  <a:moveTo>
                    <a:pt x="1835" y="1"/>
                  </a:moveTo>
                  <a:cubicBezTo>
                    <a:pt x="834" y="1"/>
                    <a:pt x="0" y="835"/>
                    <a:pt x="0" y="1836"/>
                  </a:cubicBezTo>
                  <a:cubicBezTo>
                    <a:pt x="0" y="2870"/>
                    <a:pt x="834" y="3670"/>
                    <a:pt x="1835" y="3670"/>
                  </a:cubicBezTo>
                  <a:cubicBezTo>
                    <a:pt x="2836" y="3670"/>
                    <a:pt x="3670" y="2870"/>
                    <a:pt x="3670" y="1836"/>
                  </a:cubicBezTo>
                  <a:cubicBezTo>
                    <a:pt x="3670" y="835"/>
                    <a:pt x="2836" y="1"/>
                    <a:pt x="1835" y="1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" name="Google Shape;4710;p67"/>
            <p:cNvSpPr/>
            <p:nvPr/>
          </p:nvSpPr>
          <p:spPr>
            <a:xfrm rot="10800000">
              <a:off x="7541197" y="2231460"/>
              <a:ext cx="801483" cy="800617"/>
            </a:xfrm>
            <a:custGeom>
              <a:avLst/>
              <a:gdLst/>
              <a:ahLst/>
              <a:cxnLst/>
              <a:rect l="l" t="t" r="r" b="b"/>
              <a:pathLst>
                <a:path w="33825" h="33792" extrusionOk="0">
                  <a:moveTo>
                    <a:pt x="16912" y="1835"/>
                  </a:moveTo>
                  <a:cubicBezTo>
                    <a:pt x="25218" y="1835"/>
                    <a:pt x="31956" y="8573"/>
                    <a:pt x="31956" y="16879"/>
                  </a:cubicBezTo>
                  <a:cubicBezTo>
                    <a:pt x="31956" y="25185"/>
                    <a:pt x="25218" y="31923"/>
                    <a:pt x="16912" y="31923"/>
                  </a:cubicBezTo>
                  <a:cubicBezTo>
                    <a:pt x="8606" y="31923"/>
                    <a:pt x="1868" y="25185"/>
                    <a:pt x="1868" y="16879"/>
                  </a:cubicBezTo>
                  <a:cubicBezTo>
                    <a:pt x="1868" y="8573"/>
                    <a:pt x="8606" y="1835"/>
                    <a:pt x="16912" y="1835"/>
                  </a:cubicBezTo>
                  <a:close/>
                  <a:moveTo>
                    <a:pt x="16912" y="1"/>
                  </a:moveTo>
                  <a:cubicBezTo>
                    <a:pt x="7572" y="1"/>
                    <a:pt x="0" y="7539"/>
                    <a:pt x="0" y="16879"/>
                  </a:cubicBezTo>
                  <a:cubicBezTo>
                    <a:pt x="0" y="26219"/>
                    <a:pt x="7572" y="33791"/>
                    <a:pt x="16912" y="33791"/>
                  </a:cubicBezTo>
                  <a:cubicBezTo>
                    <a:pt x="26252" y="33791"/>
                    <a:pt x="33824" y="26219"/>
                    <a:pt x="33824" y="16879"/>
                  </a:cubicBezTo>
                  <a:cubicBezTo>
                    <a:pt x="33824" y="7539"/>
                    <a:pt x="26252" y="1"/>
                    <a:pt x="16912" y="1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" name="Google Shape;4711;p67"/>
            <p:cNvSpPr/>
            <p:nvPr/>
          </p:nvSpPr>
          <p:spPr>
            <a:xfrm rot="10800000">
              <a:off x="6488377" y="2231460"/>
              <a:ext cx="800701" cy="800617"/>
            </a:xfrm>
            <a:custGeom>
              <a:avLst/>
              <a:gdLst/>
              <a:ahLst/>
              <a:cxnLst/>
              <a:rect l="l" t="t" r="r" b="b"/>
              <a:pathLst>
                <a:path w="33792" h="33792" extrusionOk="0">
                  <a:moveTo>
                    <a:pt x="16912" y="1"/>
                  </a:moveTo>
                  <a:cubicBezTo>
                    <a:pt x="7572" y="1"/>
                    <a:pt x="0" y="7539"/>
                    <a:pt x="0" y="16879"/>
                  </a:cubicBezTo>
                  <a:cubicBezTo>
                    <a:pt x="0" y="26219"/>
                    <a:pt x="7572" y="33791"/>
                    <a:pt x="16912" y="33791"/>
                  </a:cubicBezTo>
                  <a:cubicBezTo>
                    <a:pt x="26219" y="33791"/>
                    <a:pt x="33791" y="26219"/>
                    <a:pt x="33791" y="16879"/>
                  </a:cubicBezTo>
                  <a:cubicBezTo>
                    <a:pt x="33791" y="7539"/>
                    <a:pt x="26252" y="1"/>
                    <a:pt x="16912" y="1"/>
                  </a:cubicBezTo>
                  <a:close/>
                  <a:moveTo>
                    <a:pt x="16912" y="31923"/>
                  </a:moveTo>
                  <a:cubicBezTo>
                    <a:pt x="8607" y="31923"/>
                    <a:pt x="1868" y="25185"/>
                    <a:pt x="1868" y="16879"/>
                  </a:cubicBezTo>
                  <a:cubicBezTo>
                    <a:pt x="1868" y="8573"/>
                    <a:pt x="8607" y="1835"/>
                    <a:pt x="16912" y="1835"/>
                  </a:cubicBezTo>
                  <a:cubicBezTo>
                    <a:pt x="25218" y="1835"/>
                    <a:pt x="31957" y="8573"/>
                    <a:pt x="31957" y="16879"/>
                  </a:cubicBezTo>
                  <a:cubicBezTo>
                    <a:pt x="31957" y="25185"/>
                    <a:pt x="25218" y="31923"/>
                    <a:pt x="16912" y="31923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" name="Google Shape;4712;p67"/>
            <p:cNvSpPr/>
            <p:nvPr/>
          </p:nvSpPr>
          <p:spPr>
            <a:xfrm rot="10800000">
              <a:off x="5434776" y="2231460"/>
              <a:ext cx="800701" cy="800617"/>
            </a:xfrm>
            <a:custGeom>
              <a:avLst/>
              <a:gdLst/>
              <a:ahLst/>
              <a:cxnLst/>
              <a:rect l="l" t="t" r="r" b="b"/>
              <a:pathLst>
                <a:path w="33792" h="33792" extrusionOk="0">
                  <a:moveTo>
                    <a:pt x="16879" y="1"/>
                  </a:moveTo>
                  <a:cubicBezTo>
                    <a:pt x="7539" y="1"/>
                    <a:pt x="0" y="7539"/>
                    <a:pt x="0" y="16879"/>
                  </a:cubicBezTo>
                  <a:cubicBezTo>
                    <a:pt x="0" y="26219"/>
                    <a:pt x="7539" y="33791"/>
                    <a:pt x="16879" y="33791"/>
                  </a:cubicBezTo>
                  <a:cubicBezTo>
                    <a:pt x="26219" y="33791"/>
                    <a:pt x="33791" y="26219"/>
                    <a:pt x="33791" y="16879"/>
                  </a:cubicBezTo>
                  <a:cubicBezTo>
                    <a:pt x="33791" y="7539"/>
                    <a:pt x="26219" y="1"/>
                    <a:pt x="16879" y="1"/>
                  </a:cubicBezTo>
                  <a:close/>
                  <a:moveTo>
                    <a:pt x="16879" y="31923"/>
                  </a:moveTo>
                  <a:cubicBezTo>
                    <a:pt x="8573" y="31923"/>
                    <a:pt x="1835" y="25185"/>
                    <a:pt x="1835" y="16879"/>
                  </a:cubicBezTo>
                  <a:cubicBezTo>
                    <a:pt x="1835" y="8573"/>
                    <a:pt x="8573" y="1835"/>
                    <a:pt x="16879" y="1835"/>
                  </a:cubicBezTo>
                  <a:cubicBezTo>
                    <a:pt x="25185" y="1835"/>
                    <a:pt x="31923" y="8573"/>
                    <a:pt x="31923" y="16879"/>
                  </a:cubicBezTo>
                  <a:cubicBezTo>
                    <a:pt x="31923" y="25185"/>
                    <a:pt x="25185" y="31923"/>
                    <a:pt x="16879" y="31923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1" name="TextovéPole 20"/>
          <p:cNvSpPr txBox="1"/>
          <p:nvPr/>
        </p:nvSpPr>
        <p:spPr>
          <a:xfrm>
            <a:off x="7512993" y="3186752"/>
            <a:ext cx="139448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4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2024</a:t>
            </a:r>
            <a:endParaRPr lang="cs-CZ" sz="4400" dirty="0">
              <a:solidFill>
                <a:schemeClr val="tx1">
                  <a:lumMod val="75000"/>
                  <a:lumOff val="25000"/>
                </a:schemeClr>
              </a:solidFill>
              <a:latin typeface="Bahnschrift Condensed" panose="020B0502040204020203" pitchFamily="34" charset="0"/>
            </a:endParaRPr>
          </a:p>
        </p:txBody>
      </p:sp>
      <p:sp>
        <p:nvSpPr>
          <p:cNvPr id="23" name="TextovéPole 22"/>
          <p:cNvSpPr txBox="1"/>
          <p:nvPr/>
        </p:nvSpPr>
        <p:spPr>
          <a:xfrm>
            <a:off x="2829843" y="3206725"/>
            <a:ext cx="160981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4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VLÁDA</a:t>
            </a:r>
            <a:endParaRPr lang="cs-CZ" sz="4400" dirty="0">
              <a:solidFill>
                <a:schemeClr val="tx1">
                  <a:lumMod val="75000"/>
                  <a:lumOff val="25000"/>
                </a:schemeClr>
              </a:solidFill>
              <a:latin typeface="Bahnschrift Condensed" panose="020B0502040204020203" pitchFamily="34" charset="0"/>
            </a:endParaRPr>
          </a:p>
        </p:txBody>
      </p:sp>
      <p:sp>
        <p:nvSpPr>
          <p:cNvPr id="24" name="TextovéPole 23"/>
          <p:cNvSpPr txBox="1"/>
          <p:nvPr/>
        </p:nvSpPr>
        <p:spPr>
          <a:xfrm>
            <a:off x="5295315" y="3197200"/>
            <a:ext cx="103329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4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PSP</a:t>
            </a:r>
            <a:endParaRPr lang="cs-CZ" sz="4400" dirty="0">
              <a:solidFill>
                <a:schemeClr val="tx1">
                  <a:lumMod val="75000"/>
                  <a:lumOff val="25000"/>
                </a:schemeClr>
              </a:solidFill>
              <a:latin typeface="Bahnschrift Condensed" panose="020B0502040204020203" pitchFamily="34" charset="0"/>
            </a:endParaRPr>
          </a:p>
        </p:txBody>
      </p:sp>
      <p:sp>
        <p:nvSpPr>
          <p:cNvPr id="26" name="Obdélník 25"/>
          <p:cNvSpPr/>
          <p:nvPr/>
        </p:nvSpPr>
        <p:spPr>
          <a:xfrm>
            <a:off x="2826194" y="4963847"/>
            <a:ext cx="1439818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cs-CZ" sz="22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j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ednání vlády</a:t>
            </a:r>
            <a:endParaRPr lang="cs-CZ" sz="2200" dirty="0">
              <a:solidFill>
                <a:schemeClr val="tx1">
                  <a:lumMod val="75000"/>
                  <a:lumOff val="25000"/>
                </a:schemeClr>
              </a:solidFill>
              <a:latin typeface="Bahnschrift Condensed" panose="020B0502040204020203" pitchFamily="34" charset="0"/>
            </a:endParaRPr>
          </a:p>
        </p:txBody>
      </p:sp>
      <p:sp>
        <p:nvSpPr>
          <p:cNvPr id="27" name="Obdélník 26"/>
          <p:cNvSpPr/>
          <p:nvPr/>
        </p:nvSpPr>
        <p:spPr>
          <a:xfrm>
            <a:off x="4980349" y="4982897"/>
            <a:ext cx="1752403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projednávání</a:t>
            </a:r>
          </a:p>
          <a:p>
            <a:pPr lvl="0" algn="ctr"/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 Condensed" panose="020B0502040204020203" pitchFamily="34" charset="0"/>
              </a:rPr>
              <a:t>v Parlamentu ČR</a:t>
            </a:r>
            <a:endParaRPr lang="cs-CZ" sz="2200" dirty="0">
              <a:solidFill>
                <a:schemeClr val="tx1">
                  <a:lumMod val="75000"/>
                  <a:lumOff val="25000"/>
                </a:schemeClr>
              </a:solidFill>
              <a:latin typeface="Bahnschrift Condensed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3138848"/>
      </p:ext>
    </p:extLst>
  </p:cSld>
  <p:clrMapOvr>
    <a:masterClrMapping/>
  </p:clrMapOvr>
  <p:transition spd="slow">
    <p:cover dir="u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6834A5A-8CD8-4FAA-9039-A640EB0532C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" name="think-cell Slide" r:id="rId5" imgW="471" imgH="472" progId="TCLayout.ActiveDocument.1">
                  <p:embed/>
                </p:oleObj>
              </mc:Choice>
              <mc:Fallback>
                <p:oleObj name="think-cell Slide" r:id="rId5" imgW="471" imgH="472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6834A5A-8CD8-4FAA-9039-A640EB0532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odnadpis 2">
            <a:extLst>
              <a:ext uri="{FF2B5EF4-FFF2-40B4-BE49-F238E27FC236}">
                <a16:creationId xmlns:a16="http://schemas.microsoft.com/office/drawing/2014/main" id="{5AACC097-902E-4558-82CF-DEB8015113A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9131" y="3385816"/>
            <a:ext cx="7551997" cy="461665"/>
          </a:xfrm>
        </p:spPr>
        <p:txBody>
          <a:bodyPr/>
          <a:lstStyle/>
          <a:p>
            <a:r>
              <a:rPr lang="cs-CZ" dirty="0"/>
              <a:t>Závěry z výzkumu</a:t>
            </a:r>
            <a:endParaRPr lang="en-GB" dirty="0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142A7085-EA3D-4B57-BE8E-2DFAB468A04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cs-CZ" dirty="0"/>
              <a:t>Říjen 2022</a:t>
            </a:r>
            <a:endParaRPr lang="en-GB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639BC137-7C9D-4CB1-B9C5-E3138735E9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effectLst>
            <a:outerShdw blurRad="50800" dist="50800" dir="5400000" sx="5000" sy="5000" algn="ctr" rotWithShape="0">
              <a:srgbClr val="000000">
                <a:alpha val="43137"/>
              </a:srgbClr>
            </a:outerShdw>
          </a:effectLst>
        </p:spPr>
        <p:txBody>
          <a:bodyPr vert="horz">
            <a:normAutofit fontScale="90000"/>
          </a:bodyPr>
          <a:lstStyle/>
          <a:p>
            <a:r>
              <a:rPr lang="cs-CZ" dirty="0"/>
              <a:t>Měření změn vnímání dopravní bezpečnosti</a:t>
            </a:r>
          </a:p>
        </p:txBody>
      </p:sp>
      <p:sp>
        <p:nvSpPr>
          <p:cNvPr id="11" name="Zástupný symbol obrázku 10">
            <a:extLst>
              <a:ext uri="{FF2B5EF4-FFF2-40B4-BE49-F238E27FC236}">
                <a16:creationId xmlns:a16="http://schemas.microsoft.com/office/drawing/2014/main" id="{2AF682CD-258C-4773-A3A3-2A77E6E54BD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</p:sp>
      <p:pic>
        <p:nvPicPr>
          <p:cNvPr id="12" name="Zástupný symbol obrázku 9">
            <a:extLst>
              <a:ext uri="{FF2B5EF4-FFF2-40B4-BE49-F238E27FC236}">
                <a16:creationId xmlns:a16="http://schemas.microsoft.com/office/drawing/2014/main" id="{FBCE514D-58D4-4C68-82A8-B0789F9D1152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305" b="11305"/>
          <a:stretch>
            <a:fillRect/>
          </a:stretch>
        </p:blipFill>
        <p:spPr>
          <a:xfrm>
            <a:off x="350675" y="5165957"/>
            <a:ext cx="2199529" cy="110817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</p:spTree>
    <p:extLst>
      <p:ext uri="{BB962C8B-B14F-4D97-AF65-F5344CB8AC3E}">
        <p14:creationId xmlns:p14="http://schemas.microsoft.com/office/powerpoint/2010/main" val="2909876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4AD57CB9-9843-22AA-7207-1D7E7EB675F3}"/>
              </a:ext>
            </a:extLst>
          </p:cNvPr>
          <p:cNvGraphicFramePr/>
          <p:nvPr>
            <p:extLst/>
          </p:nvPr>
        </p:nvGraphicFramePr>
        <p:xfrm>
          <a:off x="7610475" y="1661729"/>
          <a:ext cx="6462059" cy="43677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7866CB9C-BBAC-C17A-FC83-CE69A11E89CA}"/>
              </a:ext>
            </a:extLst>
          </p:cNvPr>
          <p:cNvGraphicFramePr/>
          <p:nvPr>
            <p:extLst/>
          </p:nvPr>
        </p:nvGraphicFramePr>
        <p:xfrm>
          <a:off x="-228600" y="1642606"/>
          <a:ext cx="6361113" cy="43677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Tabulka 7">
            <a:extLst>
              <a:ext uri="{FF2B5EF4-FFF2-40B4-BE49-F238E27FC236}">
                <a16:creationId xmlns:a16="http://schemas.microsoft.com/office/drawing/2014/main" id="{C6EC923F-1182-BE70-E258-65B23CB556FF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3177148" y="1675855"/>
          <a:ext cx="5947802" cy="37919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947802">
                  <a:extLst>
                    <a:ext uri="{9D8B030D-6E8A-4147-A177-3AD203B41FA5}">
                      <a16:colId xmlns:a16="http://schemas.microsoft.com/office/drawing/2014/main" val="717082851"/>
                    </a:ext>
                  </a:extLst>
                </a:gridCol>
              </a:tblGrid>
              <a:tr h="47399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Překročení rychlosti o více než 5 km/h </a:t>
                      </a:r>
                    </a:p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v obci nebo o méně než 30 km/h mimo obec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693191"/>
                  </a:ext>
                </a:extLst>
              </a:tr>
              <a:tr h="47399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Překročení rychlosti o 20 km/h </a:t>
                      </a:r>
                    </a:p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v obci nebo o 30 km/h mimo obec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45718240"/>
                  </a:ext>
                </a:extLst>
              </a:tr>
              <a:tr h="47399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Nedodržování bezpečné vzdálenost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41812214"/>
                  </a:ext>
                </a:extLst>
              </a:tr>
              <a:tr h="47399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Používání telefonu za jízd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92226749"/>
                  </a:ext>
                </a:extLst>
              </a:tr>
              <a:tr h="47399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Překročení rychlosti o 40 km/h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v obci nebo o 50 km/h mimo obec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76062387"/>
                  </a:ext>
                </a:extLst>
              </a:tr>
              <a:tr h="47399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Jízda na červenou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843560"/>
                  </a:ext>
                </a:extLst>
              </a:tr>
              <a:tr h="47399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Předjíždění v nebezpečném</a:t>
                      </a:r>
                    </a:p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nebo nepřehledném úseku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66437255"/>
                  </a:ext>
                </a:extLst>
              </a:tr>
              <a:tr h="47399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 Řízení pod vlivem alkoholu </a:t>
                      </a:r>
                    </a:p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nebo jiných návykových látek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73420677"/>
                  </a:ext>
                </a:extLst>
              </a:tr>
            </a:tbl>
          </a:graphicData>
        </a:graphic>
      </p:graphicFrame>
      <p:sp>
        <p:nvSpPr>
          <p:cNvPr id="3" name="Nadpis 2">
            <a:extLst>
              <a:ext uri="{FF2B5EF4-FFF2-40B4-BE49-F238E27FC236}">
                <a16:creationId xmlns:a16="http://schemas.microsoft.com/office/drawing/2014/main" id="{5A6FA4FE-9E39-2004-5D0A-D99B0A8414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938" y="115888"/>
            <a:ext cx="11934000" cy="486000"/>
          </a:xfrm>
        </p:spPr>
        <p:txBody>
          <a:bodyPr>
            <a:normAutofit fontScale="90000"/>
          </a:bodyPr>
          <a:lstStyle/>
          <a:p>
            <a:r>
              <a:rPr lang="cs-CZ" dirty="0">
                <a:solidFill>
                  <a:schemeClr val="tx1"/>
                </a:solidFill>
                <a:latin typeface="+mn-lt"/>
              </a:rPr>
              <a:t>DOPRAVNÍ PŘESTUPKY 1/2</a:t>
            </a:r>
            <a:endParaRPr lang="cs-CZ" dirty="0"/>
          </a:p>
        </p:txBody>
      </p:sp>
      <p:sp>
        <p:nvSpPr>
          <p:cNvPr id="4" name="TextBox 21">
            <a:extLst>
              <a:ext uri="{FF2B5EF4-FFF2-40B4-BE49-F238E27FC236}">
                <a16:creationId xmlns:a16="http://schemas.microsoft.com/office/drawing/2014/main" id="{34575A52-384F-11DE-CD6D-D8308844ED3C}"/>
              </a:ext>
            </a:extLst>
          </p:cNvPr>
          <p:cNvSpPr txBox="1">
            <a:spLocks noGrp="1"/>
          </p:cNvSpPr>
          <p:nvPr>
            <p:ph type="body" sz="quarter" idx="10"/>
          </p:nvPr>
        </p:nvSpPr>
        <p:spPr>
          <a:xfrm>
            <a:off x="127000" y="625475"/>
            <a:ext cx="11934825" cy="5869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13586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o jisté míry platí, že čím nebezpečnější přestupek podle řidičů je, tím méně ho páchají. Výjimkou je nedodržování bezpečné vzdálenosti nebo používání telefonu za jízdy.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13586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64275622-C439-D793-E372-5CCFB903B5C7}"/>
              </a:ext>
            </a:extLst>
          </p:cNvPr>
          <p:cNvSpPr txBox="1">
            <a:spLocks/>
          </p:cNvSpPr>
          <p:nvPr/>
        </p:nvSpPr>
        <p:spPr>
          <a:xfrm>
            <a:off x="1061263" y="1421362"/>
            <a:ext cx="2501088" cy="23014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ÍRA NEBEZPEČÍ PŘESTUPKŮ </a:t>
            </a:r>
          </a:p>
        </p:txBody>
      </p:sp>
      <p:sp>
        <p:nvSpPr>
          <p:cNvPr id="23" name="Zástupný text 4">
            <a:extLst>
              <a:ext uri="{FF2B5EF4-FFF2-40B4-BE49-F238E27FC236}">
                <a16:creationId xmlns:a16="http://schemas.microsoft.com/office/drawing/2014/main" id="{05EAFA39-92EE-7995-7A88-7F7F47A84618}"/>
              </a:ext>
            </a:extLst>
          </p:cNvPr>
          <p:cNvSpPr txBox="1">
            <a:spLocks/>
          </p:cNvSpPr>
          <p:nvPr/>
        </p:nvSpPr>
        <p:spPr>
          <a:xfrm>
            <a:off x="8937218" y="1421362"/>
            <a:ext cx="1919378" cy="2301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ÁCHÁNÍ PŘESTUPKŮ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Cadre 7">
            <a:extLst>
              <a:ext uri="{FF2B5EF4-FFF2-40B4-BE49-F238E27FC236}">
                <a16:creationId xmlns:a16="http://schemas.microsoft.com/office/drawing/2014/main" id="{F7C4499D-37EE-7948-2B8E-8938B17DF5F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fontAlgn="b"/>
            <a:endParaRPr lang="cs-CZ" sz="1200" b="1" i="0" u="none" strike="noStrike" dirty="0">
              <a:solidFill>
                <a:schemeClr val="tx1"/>
              </a:solidFill>
              <a:effectLst/>
              <a:latin typeface="+mj-lt"/>
            </a:endParaRPr>
          </a:p>
        </p:txBody>
      </p:sp>
      <p:grpSp>
        <p:nvGrpSpPr>
          <p:cNvPr id="30" name="Skupina 29">
            <a:extLst>
              <a:ext uri="{FF2B5EF4-FFF2-40B4-BE49-F238E27FC236}">
                <a16:creationId xmlns:a16="http://schemas.microsoft.com/office/drawing/2014/main" id="{9390DE79-0BAC-0555-13BB-1C3F41C9A7D4}"/>
              </a:ext>
            </a:extLst>
          </p:cNvPr>
          <p:cNvGrpSpPr/>
          <p:nvPr/>
        </p:nvGrpSpPr>
        <p:grpSpPr>
          <a:xfrm>
            <a:off x="3730624" y="1751083"/>
            <a:ext cx="723900" cy="357763"/>
            <a:chOff x="3730624" y="1751083"/>
            <a:chExt cx="723900" cy="357763"/>
          </a:xfrm>
        </p:grpSpPr>
        <p:sp>
          <p:nvSpPr>
            <p:cNvPr id="11" name="Ovál 10">
              <a:extLst>
                <a:ext uri="{FF2B5EF4-FFF2-40B4-BE49-F238E27FC236}">
                  <a16:creationId xmlns:a16="http://schemas.microsoft.com/office/drawing/2014/main" id="{E01275FD-BCDF-CE5A-DD5B-1F302C94A819}"/>
                </a:ext>
              </a:extLst>
            </p:cNvPr>
            <p:cNvSpPr/>
            <p:nvPr/>
          </p:nvSpPr>
          <p:spPr>
            <a:xfrm>
              <a:off x="3778249" y="1751083"/>
              <a:ext cx="357763" cy="357763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00" dirty="0"/>
            </a:p>
          </p:txBody>
        </p:sp>
        <p:sp>
          <p:nvSpPr>
            <p:cNvPr id="29" name="TextovéPole 28">
              <a:extLst>
                <a:ext uri="{FF2B5EF4-FFF2-40B4-BE49-F238E27FC236}">
                  <a16:creationId xmlns:a16="http://schemas.microsoft.com/office/drawing/2014/main" id="{2ABFC146-86F2-2031-7FA6-8A846E75B17D}"/>
                </a:ext>
              </a:extLst>
            </p:cNvPr>
            <p:cNvSpPr txBox="1"/>
            <p:nvPr/>
          </p:nvSpPr>
          <p:spPr>
            <a:xfrm>
              <a:off x="3730624" y="1801826"/>
              <a:ext cx="72390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1100" i="1" dirty="0">
                  <a:solidFill>
                    <a:schemeClr val="bg1"/>
                  </a:solidFill>
                </a:rPr>
                <a:t>56%</a:t>
              </a:r>
            </a:p>
          </p:txBody>
        </p:sp>
      </p:grpSp>
      <p:grpSp>
        <p:nvGrpSpPr>
          <p:cNvPr id="31" name="Skupina 30">
            <a:extLst>
              <a:ext uri="{FF2B5EF4-FFF2-40B4-BE49-F238E27FC236}">
                <a16:creationId xmlns:a16="http://schemas.microsoft.com/office/drawing/2014/main" id="{2EA30CDD-2514-61E5-17D4-1F4952B6F1D1}"/>
              </a:ext>
            </a:extLst>
          </p:cNvPr>
          <p:cNvGrpSpPr/>
          <p:nvPr/>
        </p:nvGrpSpPr>
        <p:grpSpPr>
          <a:xfrm>
            <a:off x="3730624" y="2223335"/>
            <a:ext cx="723900" cy="357763"/>
            <a:chOff x="3730624" y="1751083"/>
            <a:chExt cx="723900" cy="357763"/>
          </a:xfrm>
        </p:grpSpPr>
        <p:sp>
          <p:nvSpPr>
            <p:cNvPr id="32" name="Ovál 31">
              <a:extLst>
                <a:ext uri="{FF2B5EF4-FFF2-40B4-BE49-F238E27FC236}">
                  <a16:creationId xmlns:a16="http://schemas.microsoft.com/office/drawing/2014/main" id="{5650AD8F-147C-A7A3-D4DA-1F4D0CE212D7}"/>
                </a:ext>
              </a:extLst>
            </p:cNvPr>
            <p:cNvSpPr/>
            <p:nvPr/>
          </p:nvSpPr>
          <p:spPr>
            <a:xfrm>
              <a:off x="3778249" y="1751083"/>
              <a:ext cx="357763" cy="357763"/>
            </a:xfrm>
            <a:prstGeom prst="ellipse">
              <a:avLst/>
            </a:prstGeom>
            <a:solidFill>
              <a:srgbClr val="A6A6A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00" dirty="0"/>
            </a:p>
          </p:txBody>
        </p:sp>
        <p:sp>
          <p:nvSpPr>
            <p:cNvPr id="33" name="TextovéPole 32">
              <a:extLst>
                <a:ext uri="{FF2B5EF4-FFF2-40B4-BE49-F238E27FC236}">
                  <a16:creationId xmlns:a16="http://schemas.microsoft.com/office/drawing/2014/main" id="{E6922501-7688-3DA6-0CA7-AC589C9CE21E}"/>
                </a:ext>
              </a:extLst>
            </p:cNvPr>
            <p:cNvSpPr txBox="1"/>
            <p:nvPr/>
          </p:nvSpPr>
          <p:spPr>
            <a:xfrm>
              <a:off x="3730624" y="1801826"/>
              <a:ext cx="72390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1100" i="1" dirty="0">
                  <a:solidFill>
                    <a:schemeClr val="bg1"/>
                  </a:solidFill>
                </a:rPr>
                <a:t>87%</a:t>
              </a:r>
            </a:p>
          </p:txBody>
        </p:sp>
      </p:grpSp>
      <p:grpSp>
        <p:nvGrpSpPr>
          <p:cNvPr id="38" name="Skupina 37">
            <a:extLst>
              <a:ext uri="{FF2B5EF4-FFF2-40B4-BE49-F238E27FC236}">
                <a16:creationId xmlns:a16="http://schemas.microsoft.com/office/drawing/2014/main" id="{63003686-06C5-356F-D07E-57F83C90AE4D}"/>
              </a:ext>
            </a:extLst>
          </p:cNvPr>
          <p:cNvGrpSpPr/>
          <p:nvPr/>
        </p:nvGrpSpPr>
        <p:grpSpPr>
          <a:xfrm>
            <a:off x="3730624" y="2695587"/>
            <a:ext cx="723900" cy="357763"/>
            <a:chOff x="3730624" y="1751083"/>
            <a:chExt cx="723900" cy="357763"/>
          </a:xfrm>
        </p:grpSpPr>
        <p:sp>
          <p:nvSpPr>
            <p:cNvPr id="39" name="Ovál 38">
              <a:extLst>
                <a:ext uri="{FF2B5EF4-FFF2-40B4-BE49-F238E27FC236}">
                  <a16:creationId xmlns:a16="http://schemas.microsoft.com/office/drawing/2014/main" id="{6E59981B-6DEB-3B63-57EB-854383FB2492}"/>
                </a:ext>
              </a:extLst>
            </p:cNvPr>
            <p:cNvSpPr/>
            <p:nvPr/>
          </p:nvSpPr>
          <p:spPr>
            <a:xfrm>
              <a:off x="3778249" y="1751083"/>
              <a:ext cx="357763" cy="357763"/>
            </a:xfrm>
            <a:prstGeom prst="ellipse">
              <a:avLst/>
            </a:prstGeom>
            <a:solidFill>
              <a:srgbClr val="A6A6A6"/>
            </a:solidFill>
            <a:ln w="28575">
              <a:solidFill>
                <a:srgbClr val="009D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00" dirty="0"/>
            </a:p>
          </p:txBody>
        </p:sp>
        <p:sp>
          <p:nvSpPr>
            <p:cNvPr id="40" name="TextovéPole 39">
              <a:extLst>
                <a:ext uri="{FF2B5EF4-FFF2-40B4-BE49-F238E27FC236}">
                  <a16:creationId xmlns:a16="http://schemas.microsoft.com/office/drawing/2014/main" id="{843AFE79-781B-A893-A807-EC80F4DFFB9F}"/>
                </a:ext>
              </a:extLst>
            </p:cNvPr>
            <p:cNvSpPr txBox="1"/>
            <p:nvPr/>
          </p:nvSpPr>
          <p:spPr>
            <a:xfrm>
              <a:off x="3730624" y="1801826"/>
              <a:ext cx="72390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1100" i="1" dirty="0">
                  <a:solidFill>
                    <a:schemeClr val="bg1"/>
                  </a:solidFill>
                </a:rPr>
                <a:t>92%</a:t>
              </a:r>
            </a:p>
          </p:txBody>
        </p:sp>
      </p:grpSp>
      <p:grpSp>
        <p:nvGrpSpPr>
          <p:cNvPr id="41" name="Skupina 40">
            <a:extLst>
              <a:ext uri="{FF2B5EF4-FFF2-40B4-BE49-F238E27FC236}">
                <a16:creationId xmlns:a16="http://schemas.microsoft.com/office/drawing/2014/main" id="{F74DEE21-1B4B-A022-CA7B-6629F8829CD1}"/>
              </a:ext>
            </a:extLst>
          </p:cNvPr>
          <p:cNvGrpSpPr/>
          <p:nvPr/>
        </p:nvGrpSpPr>
        <p:grpSpPr>
          <a:xfrm>
            <a:off x="3730624" y="3167839"/>
            <a:ext cx="723900" cy="357763"/>
            <a:chOff x="3730624" y="1751083"/>
            <a:chExt cx="723900" cy="357763"/>
          </a:xfrm>
        </p:grpSpPr>
        <p:sp>
          <p:nvSpPr>
            <p:cNvPr id="42" name="Ovál 41">
              <a:extLst>
                <a:ext uri="{FF2B5EF4-FFF2-40B4-BE49-F238E27FC236}">
                  <a16:creationId xmlns:a16="http://schemas.microsoft.com/office/drawing/2014/main" id="{100BA6E5-236A-50C9-8CA2-757FA8B38261}"/>
                </a:ext>
              </a:extLst>
            </p:cNvPr>
            <p:cNvSpPr/>
            <p:nvPr/>
          </p:nvSpPr>
          <p:spPr>
            <a:xfrm>
              <a:off x="3778249" y="1751083"/>
              <a:ext cx="357763" cy="357763"/>
            </a:xfrm>
            <a:prstGeom prst="ellipse">
              <a:avLst/>
            </a:prstGeom>
            <a:solidFill>
              <a:srgbClr val="A6A6A6"/>
            </a:solidFill>
            <a:ln w="28575">
              <a:solidFill>
                <a:srgbClr val="009D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00" dirty="0"/>
            </a:p>
          </p:txBody>
        </p:sp>
        <p:sp>
          <p:nvSpPr>
            <p:cNvPr id="43" name="TextovéPole 42">
              <a:extLst>
                <a:ext uri="{FF2B5EF4-FFF2-40B4-BE49-F238E27FC236}">
                  <a16:creationId xmlns:a16="http://schemas.microsoft.com/office/drawing/2014/main" id="{6F157756-04E6-E911-CC54-EDD96D3B0F0A}"/>
                </a:ext>
              </a:extLst>
            </p:cNvPr>
            <p:cNvSpPr txBox="1"/>
            <p:nvPr/>
          </p:nvSpPr>
          <p:spPr>
            <a:xfrm>
              <a:off x="3730624" y="1801826"/>
              <a:ext cx="72390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1100" i="1" dirty="0">
                  <a:solidFill>
                    <a:schemeClr val="bg1"/>
                  </a:solidFill>
                </a:rPr>
                <a:t>93%</a:t>
              </a:r>
            </a:p>
          </p:txBody>
        </p:sp>
      </p:grpSp>
      <p:grpSp>
        <p:nvGrpSpPr>
          <p:cNvPr id="44" name="Skupina 43">
            <a:extLst>
              <a:ext uri="{FF2B5EF4-FFF2-40B4-BE49-F238E27FC236}">
                <a16:creationId xmlns:a16="http://schemas.microsoft.com/office/drawing/2014/main" id="{BB7FA882-C471-8FD3-03A6-8D9EB50FBFEC}"/>
              </a:ext>
            </a:extLst>
          </p:cNvPr>
          <p:cNvGrpSpPr/>
          <p:nvPr/>
        </p:nvGrpSpPr>
        <p:grpSpPr>
          <a:xfrm>
            <a:off x="3730624" y="3640091"/>
            <a:ext cx="723900" cy="357763"/>
            <a:chOff x="3730624" y="1751083"/>
            <a:chExt cx="723900" cy="357763"/>
          </a:xfrm>
        </p:grpSpPr>
        <p:sp>
          <p:nvSpPr>
            <p:cNvPr id="45" name="Ovál 44">
              <a:extLst>
                <a:ext uri="{FF2B5EF4-FFF2-40B4-BE49-F238E27FC236}">
                  <a16:creationId xmlns:a16="http://schemas.microsoft.com/office/drawing/2014/main" id="{1741F20F-0C32-629F-2D87-553581193491}"/>
                </a:ext>
              </a:extLst>
            </p:cNvPr>
            <p:cNvSpPr/>
            <p:nvPr/>
          </p:nvSpPr>
          <p:spPr>
            <a:xfrm>
              <a:off x="3778249" y="1751083"/>
              <a:ext cx="357763" cy="357763"/>
            </a:xfrm>
            <a:prstGeom prst="ellipse">
              <a:avLst/>
            </a:prstGeom>
            <a:solidFill>
              <a:srgbClr val="A6A6A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00" dirty="0"/>
            </a:p>
          </p:txBody>
        </p:sp>
        <p:sp>
          <p:nvSpPr>
            <p:cNvPr id="46" name="TextovéPole 45">
              <a:extLst>
                <a:ext uri="{FF2B5EF4-FFF2-40B4-BE49-F238E27FC236}">
                  <a16:creationId xmlns:a16="http://schemas.microsoft.com/office/drawing/2014/main" id="{1C5B08A2-4BE1-096A-67E1-1B9120528F43}"/>
                </a:ext>
              </a:extLst>
            </p:cNvPr>
            <p:cNvSpPr txBox="1"/>
            <p:nvPr/>
          </p:nvSpPr>
          <p:spPr>
            <a:xfrm>
              <a:off x="3730624" y="1801826"/>
              <a:ext cx="72390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1100" i="1" dirty="0">
                  <a:solidFill>
                    <a:schemeClr val="bg1"/>
                  </a:solidFill>
                </a:rPr>
                <a:t>95%</a:t>
              </a:r>
            </a:p>
          </p:txBody>
        </p:sp>
      </p:grpSp>
      <p:grpSp>
        <p:nvGrpSpPr>
          <p:cNvPr id="47" name="Skupina 46">
            <a:extLst>
              <a:ext uri="{FF2B5EF4-FFF2-40B4-BE49-F238E27FC236}">
                <a16:creationId xmlns:a16="http://schemas.microsoft.com/office/drawing/2014/main" id="{526280F5-D43E-DE1A-6C53-7C6215CC6340}"/>
              </a:ext>
            </a:extLst>
          </p:cNvPr>
          <p:cNvGrpSpPr/>
          <p:nvPr/>
        </p:nvGrpSpPr>
        <p:grpSpPr>
          <a:xfrm>
            <a:off x="3730624" y="4112343"/>
            <a:ext cx="723900" cy="357763"/>
            <a:chOff x="3730624" y="1751083"/>
            <a:chExt cx="723900" cy="357763"/>
          </a:xfrm>
        </p:grpSpPr>
        <p:sp>
          <p:nvSpPr>
            <p:cNvPr id="48" name="Ovál 47">
              <a:extLst>
                <a:ext uri="{FF2B5EF4-FFF2-40B4-BE49-F238E27FC236}">
                  <a16:creationId xmlns:a16="http://schemas.microsoft.com/office/drawing/2014/main" id="{BBA4FE17-E00E-5448-3FD2-35CCEADAEBAB}"/>
                </a:ext>
              </a:extLst>
            </p:cNvPr>
            <p:cNvSpPr/>
            <p:nvPr/>
          </p:nvSpPr>
          <p:spPr>
            <a:xfrm>
              <a:off x="3778249" y="1751083"/>
              <a:ext cx="357763" cy="357763"/>
            </a:xfrm>
            <a:prstGeom prst="ellipse">
              <a:avLst/>
            </a:prstGeom>
            <a:solidFill>
              <a:srgbClr val="A6A6A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00" dirty="0"/>
            </a:p>
          </p:txBody>
        </p:sp>
        <p:sp>
          <p:nvSpPr>
            <p:cNvPr id="49" name="TextovéPole 48">
              <a:extLst>
                <a:ext uri="{FF2B5EF4-FFF2-40B4-BE49-F238E27FC236}">
                  <a16:creationId xmlns:a16="http://schemas.microsoft.com/office/drawing/2014/main" id="{9EB01E6C-BF65-4364-AF8E-CAE4F0941777}"/>
                </a:ext>
              </a:extLst>
            </p:cNvPr>
            <p:cNvSpPr txBox="1"/>
            <p:nvPr/>
          </p:nvSpPr>
          <p:spPr>
            <a:xfrm>
              <a:off x="3730624" y="1801826"/>
              <a:ext cx="72390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1100" i="1" dirty="0">
                  <a:solidFill>
                    <a:schemeClr val="bg1"/>
                  </a:solidFill>
                </a:rPr>
                <a:t>96%</a:t>
              </a:r>
            </a:p>
          </p:txBody>
        </p:sp>
      </p:grpSp>
      <p:grpSp>
        <p:nvGrpSpPr>
          <p:cNvPr id="50" name="Skupina 49">
            <a:extLst>
              <a:ext uri="{FF2B5EF4-FFF2-40B4-BE49-F238E27FC236}">
                <a16:creationId xmlns:a16="http://schemas.microsoft.com/office/drawing/2014/main" id="{A28D0AB5-9DAE-CCD5-3E82-C4EF38F0FB8B}"/>
              </a:ext>
            </a:extLst>
          </p:cNvPr>
          <p:cNvGrpSpPr/>
          <p:nvPr/>
        </p:nvGrpSpPr>
        <p:grpSpPr>
          <a:xfrm>
            <a:off x="3730624" y="4584595"/>
            <a:ext cx="723900" cy="357763"/>
            <a:chOff x="3730624" y="1751083"/>
            <a:chExt cx="723900" cy="357763"/>
          </a:xfrm>
        </p:grpSpPr>
        <p:sp>
          <p:nvSpPr>
            <p:cNvPr id="51" name="Ovál 50">
              <a:extLst>
                <a:ext uri="{FF2B5EF4-FFF2-40B4-BE49-F238E27FC236}">
                  <a16:creationId xmlns:a16="http://schemas.microsoft.com/office/drawing/2014/main" id="{4388F014-958A-890F-915A-0AFFC54B7616}"/>
                </a:ext>
              </a:extLst>
            </p:cNvPr>
            <p:cNvSpPr/>
            <p:nvPr/>
          </p:nvSpPr>
          <p:spPr>
            <a:xfrm>
              <a:off x="3778249" y="1751083"/>
              <a:ext cx="357763" cy="357763"/>
            </a:xfrm>
            <a:prstGeom prst="ellipse">
              <a:avLst/>
            </a:prstGeom>
            <a:solidFill>
              <a:srgbClr val="A6A6A6"/>
            </a:solidFill>
            <a:ln w="28575">
              <a:solidFill>
                <a:srgbClr val="009D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00" dirty="0"/>
            </a:p>
          </p:txBody>
        </p:sp>
        <p:sp>
          <p:nvSpPr>
            <p:cNvPr id="52" name="TextovéPole 51">
              <a:extLst>
                <a:ext uri="{FF2B5EF4-FFF2-40B4-BE49-F238E27FC236}">
                  <a16:creationId xmlns:a16="http://schemas.microsoft.com/office/drawing/2014/main" id="{35139D61-AB8F-56F0-9E40-AB5B3C10E178}"/>
                </a:ext>
              </a:extLst>
            </p:cNvPr>
            <p:cNvSpPr txBox="1"/>
            <p:nvPr/>
          </p:nvSpPr>
          <p:spPr>
            <a:xfrm>
              <a:off x="3730624" y="1801826"/>
              <a:ext cx="72390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1100" i="1" dirty="0">
                  <a:solidFill>
                    <a:schemeClr val="bg1"/>
                  </a:solidFill>
                </a:rPr>
                <a:t>97%</a:t>
              </a:r>
            </a:p>
          </p:txBody>
        </p:sp>
      </p:grpSp>
      <p:grpSp>
        <p:nvGrpSpPr>
          <p:cNvPr id="53" name="Skupina 52">
            <a:extLst>
              <a:ext uri="{FF2B5EF4-FFF2-40B4-BE49-F238E27FC236}">
                <a16:creationId xmlns:a16="http://schemas.microsoft.com/office/drawing/2014/main" id="{FEB7133F-F53F-306E-DBDA-CFBEAC5ABCF6}"/>
              </a:ext>
            </a:extLst>
          </p:cNvPr>
          <p:cNvGrpSpPr/>
          <p:nvPr/>
        </p:nvGrpSpPr>
        <p:grpSpPr>
          <a:xfrm>
            <a:off x="3730624" y="5056847"/>
            <a:ext cx="723900" cy="357763"/>
            <a:chOff x="3730624" y="1751083"/>
            <a:chExt cx="723900" cy="357763"/>
          </a:xfrm>
        </p:grpSpPr>
        <p:sp>
          <p:nvSpPr>
            <p:cNvPr id="54" name="Ovál 53">
              <a:extLst>
                <a:ext uri="{FF2B5EF4-FFF2-40B4-BE49-F238E27FC236}">
                  <a16:creationId xmlns:a16="http://schemas.microsoft.com/office/drawing/2014/main" id="{5632CF26-9DC7-E8D3-03A0-0F056EDB3959}"/>
                </a:ext>
              </a:extLst>
            </p:cNvPr>
            <p:cNvSpPr/>
            <p:nvPr/>
          </p:nvSpPr>
          <p:spPr>
            <a:xfrm>
              <a:off x="3778249" y="1751083"/>
              <a:ext cx="357763" cy="357763"/>
            </a:xfrm>
            <a:prstGeom prst="ellipse">
              <a:avLst/>
            </a:prstGeom>
            <a:solidFill>
              <a:srgbClr val="A6A6A6"/>
            </a:solidFill>
            <a:ln w="28575">
              <a:solidFill>
                <a:srgbClr val="009D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00" dirty="0"/>
            </a:p>
          </p:txBody>
        </p:sp>
        <p:sp>
          <p:nvSpPr>
            <p:cNvPr id="55" name="TextovéPole 54">
              <a:extLst>
                <a:ext uri="{FF2B5EF4-FFF2-40B4-BE49-F238E27FC236}">
                  <a16:creationId xmlns:a16="http://schemas.microsoft.com/office/drawing/2014/main" id="{A17056A5-C320-6938-C3CD-28E5575F58AC}"/>
                </a:ext>
              </a:extLst>
            </p:cNvPr>
            <p:cNvSpPr txBox="1"/>
            <p:nvPr/>
          </p:nvSpPr>
          <p:spPr>
            <a:xfrm>
              <a:off x="3730624" y="1801826"/>
              <a:ext cx="72390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1100" i="1" dirty="0">
                  <a:solidFill>
                    <a:schemeClr val="bg1"/>
                  </a:solidFill>
                </a:rPr>
                <a:t>98%</a:t>
              </a:r>
            </a:p>
          </p:txBody>
        </p:sp>
      </p:grpSp>
      <p:grpSp>
        <p:nvGrpSpPr>
          <p:cNvPr id="56" name="Skupina 55">
            <a:extLst>
              <a:ext uri="{FF2B5EF4-FFF2-40B4-BE49-F238E27FC236}">
                <a16:creationId xmlns:a16="http://schemas.microsoft.com/office/drawing/2014/main" id="{5D2BD67D-43EA-3BEE-5BF8-5342F0EC8E10}"/>
              </a:ext>
            </a:extLst>
          </p:cNvPr>
          <p:cNvGrpSpPr/>
          <p:nvPr/>
        </p:nvGrpSpPr>
        <p:grpSpPr>
          <a:xfrm>
            <a:off x="7966074" y="1751083"/>
            <a:ext cx="723900" cy="357763"/>
            <a:chOff x="3730624" y="1751083"/>
            <a:chExt cx="723900" cy="357763"/>
          </a:xfrm>
        </p:grpSpPr>
        <p:sp>
          <p:nvSpPr>
            <p:cNvPr id="57" name="Ovál 56">
              <a:extLst>
                <a:ext uri="{FF2B5EF4-FFF2-40B4-BE49-F238E27FC236}">
                  <a16:creationId xmlns:a16="http://schemas.microsoft.com/office/drawing/2014/main" id="{B2BF9D39-9663-4E1E-9ACD-6197BAD238AB}"/>
                </a:ext>
              </a:extLst>
            </p:cNvPr>
            <p:cNvSpPr/>
            <p:nvPr/>
          </p:nvSpPr>
          <p:spPr>
            <a:xfrm>
              <a:off x="3778249" y="1751083"/>
              <a:ext cx="357763" cy="357763"/>
            </a:xfrm>
            <a:prstGeom prst="ellipse">
              <a:avLst/>
            </a:prstGeom>
            <a:solidFill>
              <a:srgbClr val="7DBFBB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00" dirty="0"/>
            </a:p>
          </p:txBody>
        </p:sp>
        <p:sp>
          <p:nvSpPr>
            <p:cNvPr id="58" name="TextovéPole 57">
              <a:extLst>
                <a:ext uri="{FF2B5EF4-FFF2-40B4-BE49-F238E27FC236}">
                  <a16:creationId xmlns:a16="http://schemas.microsoft.com/office/drawing/2014/main" id="{2CAAE917-0477-C675-0502-1D9061C3266B}"/>
                </a:ext>
              </a:extLst>
            </p:cNvPr>
            <p:cNvSpPr txBox="1"/>
            <p:nvPr/>
          </p:nvSpPr>
          <p:spPr>
            <a:xfrm>
              <a:off x="3730624" y="1801826"/>
              <a:ext cx="72390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1100" i="1" dirty="0">
                  <a:solidFill>
                    <a:schemeClr val="bg1"/>
                  </a:solidFill>
                </a:rPr>
                <a:t>74%</a:t>
              </a:r>
            </a:p>
          </p:txBody>
        </p:sp>
      </p:grpSp>
      <p:grpSp>
        <p:nvGrpSpPr>
          <p:cNvPr id="59" name="Skupina 58">
            <a:extLst>
              <a:ext uri="{FF2B5EF4-FFF2-40B4-BE49-F238E27FC236}">
                <a16:creationId xmlns:a16="http://schemas.microsoft.com/office/drawing/2014/main" id="{EA17B68B-1B71-D1AB-578E-FD6AB5D05122}"/>
              </a:ext>
            </a:extLst>
          </p:cNvPr>
          <p:cNvGrpSpPr/>
          <p:nvPr/>
        </p:nvGrpSpPr>
        <p:grpSpPr>
          <a:xfrm>
            <a:off x="7966074" y="2223335"/>
            <a:ext cx="723900" cy="357763"/>
            <a:chOff x="3730624" y="1751083"/>
            <a:chExt cx="723900" cy="357763"/>
          </a:xfrm>
        </p:grpSpPr>
        <p:sp>
          <p:nvSpPr>
            <p:cNvPr id="60" name="Ovál 59">
              <a:extLst>
                <a:ext uri="{FF2B5EF4-FFF2-40B4-BE49-F238E27FC236}">
                  <a16:creationId xmlns:a16="http://schemas.microsoft.com/office/drawing/2014/main" id="{E07D6CF5-D43A-2E6D-023F-8DEB644EC0E4}"/>
                </a:ext>
              </a:extLst>
            </p:cNvPr>
            <p:cNvSpPr/>
            <p:nvPr/>
          </p:nvSpPr>
          <p:spPr>
            <a:xfrm>
              <a:off x="3778249" y="1751083"/>
              <a:ext cx="357763" cy="357763"/>
            </a:xfrm>
            <a:prstGeom prst="ellipse">
              <a:avLst/>
            </a:prstGeom>
            <a:solidFill>
              <a:srgbClr val="7DBFBB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00" dirty="0"/>
            </a:p>
          </p:txBody>
        </p:sp>
        <p:sp>
          <p:nvSpPr>
            <p:cNvPr id="61" name="TextovéPole 60">
              <a:extLst>
                <a:ext uri="{FF2B5EF4-FFF2-40B4-BE49-F238E27FC236}">
                  <a16:creationId xmlns:a16="http://schemas.microsoft.com/office/drawing/2014/main" id="{AF65FB5B-3B1E-A549-4F1D-424F3B6F854A}"/>
                </a:ext>
              </a:extLst>
            </p:cNvPr>
            <p:cNvSpPr txBox="1"/>
            <p:nvPr/>
          </p:nvSpPr>
          <p:spPr>
            <a:xfrm>
              <a:off x="3730624" y="1801826"/>
              <a:ext cx="72390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1100" i="1" dirty="0">
                  <a:solidFill>
                    <a:schemeClr val="bg1"/>
                  </a:solidFill>
                </a:rPr>
                <a:t>33%</a:t>
              </a:r>
            </a:p>
          </p:txBody>
        </p:sp>
      </p:grpSp>
      <p:grpSp>
        <p:nvGrpSpPr>
          <p:cNvPr id="62" name="Skupina 61">
            <a:extLst>
              <a:ext uri="{FF2B5EF4-FFF2-40B4-BE49-F238E27FC236}">
                <a16:creationId xmlns:a16="http://schemas.microsoft.com/office/drawing/2014/main" id="{9B82DBD9-8487-9682-DE38-B61E8F053142}"/>
              </a:ext>
            </a:extLst>
          </p:cNvPr>
          <p:cNvGrpSpPr/>
          <p:nvPr/>
        </p:nvGrpSpPr>
        <p:grpSpPr>
          <a:xfrm>
            <a:off x="7966074" y="2695587"/>
            <a:ext cx="723900" cy="357763"/>
            <a:chOff x="3730624" y="1751083"/>
            <a:chExt cx="723900" cy="357763"/>
          </a:xfrm>
        </p:grpSpPr>
        <p:sp>
          <p:nvSpPr>
            <p:cNvPr id="63" name="Ovál 62">
              <a:extLst>
                <a:ext uri="{FF2B5EF4-FFF2-40B4-BE49-F238E27FC236}">
                  <a16:creationId xmlns:a16="http://schemas.microsoft.com/office/drawing/2014/main" id="{7C785674-98A2-49DF-3379-70B7CA5C0A9B}"/>
                </a:ext>
              </a:extLst>
            </p:cNvPr>
            <p:cNvSpPr/>
            <p:nvPr/>
          </p:nvSpPr>
          <p:spPr>
            <a:xfrm>
              <a:off x="3778249" y="1751083"/>
              <a:ext cx="357763" cy="357763"/>
            </a:xfrm>
            <a:prstGeom prst="ellipse">
              <a:avLst/>
            </a:prstGeom>
            <a:solidFill>
              <a:srgbClr val="7DBFBB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00" dirty="0"/>
            </a:p>
          </p:txBody>
        </p:sp>
        <p:sp>
          <p:nvSpPr>
            <p:cNvPr id="64" name="TextovéPole 63">
              <a:extLst>
                <a:ext uri="{FF2B5EF4-FFF2-40B4-BE49-F238E27FC236}">
                  <a16:creationId xmlns:a16="http://schemas.microsoft.com/office/drawing/2014/main" id="{93964448-1EDD-C145-3762-86352FB84B01}"/>
                </a:ext>
              </a:extLst>
            </p:cNvPr>
            <p:cNvSpPr txBox="1"/>
            <p:nvPr/>
          </p:nvSpPr>
          <p:spPr>
            <a:xfrm>
              <a:off x="3730624" y="1801826"/>
              <a:ext cx="72390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1100" i="1" dirty="0">
                  <a:solidFill>
                    <a:schemeClr val="bg1"/>
                  </a:solidFill>
                </a:rPr>
                <a:t>51%</a:t>
              </a:r>
            </a:p>
          </p:txBody>
        </p:sp>
      </p:grpSp>
      <p:grpSp>
        <p:nvGrpSpPr>
          <p:cNvPr id="65" name="Skupina 64">
            <a:extLst>
              <a:ext uri="{FF2B5EF4-FFF2-40B4-BE49-F238E27FC236}">
                <a16:creationId xmlns:a16="http://schemas.microsoft.com/office/drawing/2014/main" id="{E8E8417E-53D2-A105-A445-D69FDFF3D024}"/>
              </a:ext>
            </a:extLst>
          </p:cNvPr>
          <p:cNvGrpSpPr/>
          <p:nvPr/>
        </p:nvGrpSpPr>
        <p:grpSpPr>
          <a:xfrm>
            <a:off x="7966074" y="3167839"/>
            <a:ext cx="723900" cy="357763"/>
            <a:chOff x="3730624" y="1751083"/>
            <a:chExt cx="723900" cy="357763"/>
          </a:xfrm>
        </p:grpSpPr>
        <p:sp>
          <p:nvSpPr>
            <p:cNvPr id="66" name="Ovál 65">
              <a:extLst>
                <a:ext uri="{FF2B5EF4-FFF2-40B4-BE49-F238E27FC236}">
                  <a16:creationId xmlns:a16="http://schemas.microsoft.com/office/drawing/2014/main" id="{FF37E4E3-AFCA-CBC9-48DB-2F25954785D0}"/>
                </a:ext>
              </a:extLst>
            </p:cNvPr>
            <p:cNvSpPr/>
            <p:nvPr/>
          </p:nvSpPr>
          <p:spPr>
            <a:xfrm>
              <a:off x="3778249" y="1751083"/>
              <a:ext cx="357763" cy="357763"/>
            </a:xfrm>
            <a:prstGeom prst="ellipse">
              <a:avLst/>
            </a:prstGeom>
            <a:solidFill>
              <a:srgbClr val="7DBFBB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00" dirty="0"/>
            </a:p>
          </p:txBody>
        </p:sp>
        <p:sp>
          <p:nvSpPr>
            <p:cNvPr id="67" name="TextovéPole 66">
              <a:extLst>
                <a:ext uri="{FF2B5EF4-FFF2-40B4-BE49-F238E27FC236}">
                  <a16:creationId xmlns:a16="http://schemas.microsoft.com/office/drawing/2014/main" id="{4EDC1298-5814-D5FF-DE33-63D27C075BBF}"/>
                </a:ext>
              </a:extLst>
            </p:cNvPr>
            <p:cNvSpPr txBox="1"/>
            <p:nvPr/>
          </p:nvSpPr>
          <p:spPr>
            <a:xfrm>
              <a:off x="3730624" y="1801826"/>
              <a:ext cx="72390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1100" i="1" dirty="0">
                  <a:solidFill>
                    <a:schemeClr val="bg1"/>
                  </a:solidFill>
                </a:rPr>
                <a:t>37%</a:t>
              </a:r>
            </a:p>
          </p:txBody>
        </p:sp>
      </p:grpSp>
      <p:grpSp>
        <p:nvGrpSpPr>
          <p:cNvPr id="68" name="Skupina 67">
            <a:extLst>
              <a:ext uri="{FF2B5EF4-FFF2-40B4-BE49-F238E27FC236}">
                <a16:creationId xmlns:a16="http://schemas.microsoft.com/office/drawing/2014/main" id="{4513F32E-C149-665C-D52C-8748F8ED039E}"/>
              </a:ext>
            </a:extLst>
          </p:cNvPr>
          <p:cNvGrpSpPr/>
          <p:nvPr/>
        </p:nvGrpSpPr>
        <p:grpSpPr>
          <a:xfrm>
            <a:off x="7966074" y="3640091"/>
            <a:ext cx="723900" cy="357763"/>
            <a:chOff x="3730624" y="1751083"/>
            <a:chExt cx="723900" cy="357763"/>
          </a:xfrm>
        </p:grpSpPr>
        <p:sp>
          <p:nvSpPr>
            <p:cNvPr id="69" name="Ovál 68">
              <a:extLst>
                <a:ext uri="{FF2B5EF4-FFF2-40B4-BE49-F238E27FC236}">
                  <a16:creationId xmlns:a16="http://schemas.microsoft.com/office/drawing/2014/main" id="{097274F9-D417-E4CE-5D91-37BC0499E2E4}"/>
                </a:ext>
              </a:extLst>
            </p:cNvPr>
            <p:cNvSpPr/>
            <p:nvPr/>
          </p:nvSpPr>
          <p:spPr>
            <a:xfrm>
              <a:off x="3778249" y="1751083"/>
              <a:ext cx="357763" cy="357763"/>
            </a:xfrm>
            <a:prstGeom prst="ellipse">
              <a:avLst/>
            </a:prstGeom>
            <a:solidFill>
              <a:srgbClr val="7DBFBB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00" dirty="0"/>
            </a:p>
          </p:txBody>
        </p:sp>
        <p:sp>
          <p:nvSpPr>
            <p:cNvPr id="70" name="TextovéPole 69">
              <a:extLst>
                <a:ext uri="{FF2B5EF4-FFF2-40B4-BE49-F238E27FC236}">
                  <a16:creationId xmlns:a16="http://schemas.microsoft.com/office/drawing/2014/main" id="{89598BC2-48DC-D242-12B7-3ECD67FF42FF}"/>
                </a:ext>
              </a:extLst>
            </p:cNvPr>
            <p:cNvSpPr txBox="1"/>
            <p:nvPr/>
          </p:nvSpPr>
          <p:spPr>
            <a:xfrm>
              <a:off x="3730624" y="1801826"/>
              <a:ext cx="72390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1100" i="1" dirty="0">
                  <a:solidFill>
                    <a:schemeClr val="bg1"/>
                  </a:solidFill>
                </a:rPr>
                <a:t>15%</a:t>
              </a:r>
            </a:p>
          </p:txBody>
        </p:sp>
      </p:grpSp>
      <p:grpSp>
        <p:nvGrpSpPr>
          <p:cNvPr id="71" name="Skupina 70">
            <a:extLst>
              <a:ext uri="{FF2B5EF4-FFF2-40B4-BE49-F238E27FC236}">
                <a16:creationId xmlns:a16="http://schemas.microsoft.com/office/drawing/2014/main" id="{DCB93FF6-F521-FF6C-532D-7BACB60C4DF2}"/>
              </a:ext>
            </a:extLst>
          </p:cNvPr>
          <p:cNvGrpSpPr/>
          <p:nvPr/>
        </p:nvGrpSpPr>
        <p:grpSpPr>
          <a:xfrm>
            <a:off x="7966074" y="4112343"/>
            <a:ext cx="723900" cy="357763"/>
            <a:chOff x="3730624" y="1751083"/>
            <a:chExt cx="723900" cy="357763"/>
          </a:xfrm>
        </p:grpSpPr>
        <p:sp>
          <p:nvSpPr>
            <p:cNvPr id="72" name="Ovál 71">
              <a:extLst>
                <a:ext uri="{FF2B5EF4-FFF2-40B4-BE49-F238E27FC236}">
                  <a16:creationId xmlns:a16="http://schemas.microsoft.com/office/drawing/2014/main" id="{B3CDD253-9445-4ED5-B14E-94EB603284ED}"/>
                </a:ext>
              </a:extLst>
            </p:cNvPr>
            <p:cNvSpPr/>
            <p:nvPr/>
          </p:nvSpPr>
          <p:spPr>
            <a:xfrm>
              <a:off x="3778249" y="1751083"/>
              <a:ext cx="357763" cy="357763"/>
            </a:xfrm>
            <a:prstGeom prst="ellipse">
              <a:avLst/>
            </a:prstGeom>
            <a:solidFill>
              <a:srgbClr val="7DBFBB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00" dirty="0"/>
            </a:p>
          </p:txBody>
        </p:sp>
        <p:sp>
          <p:nvSpPr>
            <p:cNvPr id="73" name="TextovéPole 72">
              <a:extLst>
                <a:ext uri="{FF2B5EF4-FFF2-40B4-BE49-F238E27FC236}">
                  <a16:creationId xmlns:a16="http://schemas.microsoft.com/office/drawing/2014/main" id="{04167DB7-D815-6D0D-9F24-7249F5C00B19}"/>
                </a:ext>
              </a:extLst>
            </p:cNvPr>
            <p:cNvSpPr txBox="1"/>
            <p:nvPr/>
          </p:nvSpPr>
          <p:spPr>
            <a:xfrm>
              <a:off x="3730624" y="1801826"/>
              <a:ext cx="72390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1100" i="1" dirty="0">
                  <a:solidFill>
                    <a:schemeClr val="bg1"/>
                  </a:solidFill>
                </a:rPr>
                <a:t>11%</a:t>
              </a:r>
            </a:p>
          </p:txBody>
        </p:sp>
      </p:grpSp>
      <p:grpSp>
        <p:nvGrpSpPr>
          <p:cNvPr id="74" name="Skupina 73">
            <a:extLst>
              <a:ext uri="{FF2B5EF4-FFF2-40B4-BE49-F238E27FC236}">
                <a16:creationId xmlns:a16="http://schemas.microsoft.com/office/drawing/2014/main" id="{F0F03E16-B19C-8373-A9FC-CE50C5D7B575}"/>
              </a:ext>
            </a:extLst>
          </p:cNvPr>
          <p:cNvGrpSpPr/>
          <p:nvPr/>
        </p:nvGrpSpPr>
        <p:grpSpPr>
          <a:xfrm>
            <a:off x="7966074" y="4584595"/>
            <a:ext cx="723900" cy="357763"/>
            <a:chOff x="3730624" y="1751083"/>
            <a:chExt cx="723900" cy="357763"/>
          </a:xfrm>
        </p:grpSpPr>
        <p:sp>
          <p:nvSpPr>
            <p:cNvPr id="75" name="Ovál 74">
              <a:extLst>
                <a:ext uri="{FF2B5EF4-FFF2-40B4-BE49-F238E27FC236}">
                  <a16:creationId xmlns:a16="http://schemas.microsoft.com/office/drawing/2014/main" id="{3EBDA948-DE95-7832-2F88-FD0F2E2EEE36}"/>
                </a:ext>
              </a:extLst>
            </p:cNvPr>
            <p:cNvSpPr/>
            <p:nvPr/>
          </p:nvSpPr>
          <p:spPr>
            <a:xfrm>
              <a:off x="3778249" y="1751083"/>
              <a:ext cx="357763" cy="357763"/>
            </a:xfrm>
            <a:prstGeom prst="ellipse">
              <a:avLst/>
            </a:prstGeom>
            <a:solidFill>
              <a:srgbClr val="7DBFBB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00" dirty="0"/>
            </a:p>
          </p:txBody>
        </p:sp>
        <p:sp>
          <p:nvSpPr>
            <p:cNvPr id="76" name="TextovéPole 75">
              <a:extLst>
                <a:ext uri="{FF2B5EF4-FFF2-40B4-BE49-F238E27FC236}">
                  <a16:creationId xmlns:a16="http://schemas.microsoft.com/office/drawing/2014/main" id="{ECEBBD1F-F0BA-7839-8793-F7B768D05129}"/>
                </a:ext>
              </a:extLst>
            </p:cNvPr>
            <p:cNvSpPr txBox="1"/>
            <p:nvPr/>
          </p:nvSpPr>
          <p:spPr>
            <a:xfrm>
              <a:off x="3730624" y="1801826"/>
              <a:ext cx="72390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1100" i="1" dirty="0">
                  <a:solidFill>
                    <a:schemeClr val="bg1"/>
                  </a:solidFill>
                </a:rPr>
                <a:t>10%</a:t>
              </a:r>
            </a:p>
          </p:txBody>
        </p:sp>
      </p:grpSp>
      <p:grpSp>
        <p:nvGrpSpPr>
          <p:cNvPr id="77" name="Skupina 76">
            <a:extLst>
              <a:ext uri="{FF2B5EF4-FFF2-40B4-BE49-F238E27FC236}">
                <a16:creationId xmlns:a16="http://schemas.microsoft.com/office/drawing/2014/main" id="{C2057409-8B63-C6ED-1873-91E5C75F5E26}"/>
              </a:ext>
            </a:extLst>
          </p:cNvPr>
          <p:cNvGrpSpPr/>
          <p:nvPr/>
        </p:nvGrpSpPr>
        <p:grpSpPr>
          <a:xfrm>
            <a:off x="7966074" y="5056847"/>
            <a:ext cx="723900" cy="357763"/>
            <a:chOff x="3730624" y="1751083"/>
            <a:chExt cx="723900" cy="357763"/>
          </a:xfrm>
        </p:grpSpPr>
        <p:sp>
          <p:nvSpPr>
            <p:cNvPr id="78" name="Ovál 77">
              <a:extLst>
                <a:ext uri="{FF2B5EF4-FFF2-40B4-BE49-F238E27FC236}">
                  <a16:creationId xmlns:a16="http://schemas.microsoft.com/office/drawing/2014/main" id="{2D66D8CF-698B-E10F-A773-BF020FB9A911}"/>
                </a:ext>
              </a:extLst>
            </p:cNvPr>
            <p:cNvSpPr/>
            <p:nvPr/>
          </p:nvSpPr>
          <p:spPr>
            <a:xfrm>
              <a:off x="3778249" y="1751083"/>
              <a:ext cx="357763" cy="357763"/>
            </a:xfrm>
            <a:prstGeom prst="ellipse">
              <a:avLst/>
            </a:prstGeom>
            <a:solidFill>
              <a:srgbClr val="7DBFBB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00" dirty="0"/>
            </a:p>
          </p:txBody>
        </p:sp>
        <p:sp>
          <p:nvSpPr>
            <p:cNvPr id="79" name="TextovéPole 78">
              <a:extLst>
                <a:ext uri="{FF2B5EF4-FFF2-40B4-BE49-F238E27FC236}">
                  <a16:creationId xmlns:a16="http://schemas.microsoft.com/office/drawing/2014/main" id="{3D7E97F7-C898-6FE5-A21C-8EF264AF992E}"/>
                </a:ext>
              </a:extLst>
            </p:cNvPr>
            <p:cNvSpPr txBox="1"/>
            <p:nvPr/>
          </p:nvSpPr>
          <p:spPr>
            <a:xfrm>
              <a:off x="3730624" y="1801826"/>
              <a:ext cx="72390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1100" i="1" dirty="0">
                  <a:solidFill>
                    <a:schemeClr val="bg1"/>
                  </a:solidFill>
                </a:rPr>
                <a:t> 6%</a:t>
              </a:r>
            </a:p>
          </p:txBody>
        </p:sp>
      </p:grpSp>
      <p:sp>
        <p:nvSpPr>
          <p:cNvPr id="80" name="Zástupný text 4">
            <a:extLst>
              <a:ext uri="{FF2B5EF4-FFF2-40B4-BE49-F238E27FC236}">
                <a16:creationId xmlns:a16="http://schemas.microsoft.com/office/drawing/2014/main" id="{9A812C3F-9C7A-8CA0-E7BE-8AA32DF03473}"/>
              </a:ext>
            </a:extLst>
          </p:cNvPr>
          <p:cNvSpPr txBox="1">
            <a:spLocks/>
          </p:cNvSpPr>
          <p:nvPr/>
        </p:nvSpPr>
        <p:spPr>
          <a:xfrm>
            <a:off x="2969989" y="1464806"/>
            <a:ext cx="2553484" cy="36732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cs-CZ" sz="1050" b="1" dirty="0">
                <a:solidFill>
                  <a:srgbClr val="A6A6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BEZPEČNÉ</a:t>
            </a:r>
          </a:p>
        </p:txBody>
      </p:sp>
      <p:sp>
        <p:nvSpPr>
          <p:cNvPr id="81" name="Zástupný text 4">
            <a:extLst>
              <a:ext uri="{FF2B5EF4-FFF2-40B4-BE49-F238E27FC236}">
                <a16:creationId xmlns:a16="http://schemas.microsoft.com/office/drawing/2014/main" id="{6B40F1B4-1C6E-4964-B632-470489E2BBAE}"/>
              </a:ext>
            </a:extLst>
          </p:cNvPr>
          <p:cNvSpPr txBox="1">
            <a:spLocks/>
          </p:cNvSpPr>
          <p:nvPr/>
        </p:nvSpPr>
        <p:spPr>
          <a:xfrm>
            <a:off x="6755838" y="1485128"/>
            <a:ext cx="2553484" cy="36732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cs-CZ" sz="1050" b="1" dirty="0">
                <a:solidFill>
                  <a:srgbClr val="7DBFB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ÁCHANÉ</a:t>
            </a:r>
          </a:p>
        </p:txBody>
      </p:sp>
      <p:sp>
        <p:nvSpPr>
          <p:cNvPr id="82" name="Zástupný text 3">
            <a:extLst>
              <a:ext uri="{FF2B5EF4-FFF2-40B4-BE49-F238E27FC236}">
                <a16:creationId xmlns:a16="http://schemas.microsoft.com/office/drawing/2014/main" id="{64646A7B-D960-372D-9259-6576050C9ADD}"/>
              </a:ext>
            </a:extLst>
          </p:cNvPr>
          <p:cNvSpPr txBox="1">
            <a:spLocks/>
          </p:cNvSpPr>
          <p:nvPr/>
        </p:nvSpPr>
        <p:spPr>
          <a:xfrm>
            <a:off x="527819" y="6134149"/>
            <a:ext cx="10492606" cy="3077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i="1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itchFamily="34" charset="0"/>
              </a:defRPr>
            </a:lvl1pPr>
            <a:lvl2pPr marL="457189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i="1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i="1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i="1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i="1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000" b="1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Báze:</a:t>
            </a:r>
            <a:r>
              <a:rPr kumimoji="0" lang="cs-CZ" sz="100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 n=790 (pouze řidiči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000" b="1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Otázka: </a:t>
            </a:r>
            <a:r>
              <a:rPr kumimoji="0" lang="pt-BR" sz="100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B5. Do jaké míry Vám přijdou jednotlivé přestupky jako nebezpečné?</a:t>
            </a:r>
            <a:r>
              <a:rPr kumimoji="0" lang="cs-CZ" sz="100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 B3a. Děláte na silnicích tyto přestupky i přesto, že Vám hrozí sankce, případně body?</a:t>
            </a:r>
          </a:p>
        </p:txBody>
      </p:sp>
    </p:spTree>
    <p:extLst>
      <p:ext uri="{BB962C8B-B14F-4D97-AF65-F5344CB8AC3E}">
        <p14:creationId xmlns:p14="http://schemas.microsoft.com/office/powerpoint/2010/main" val="7916315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Ipsos">
    <a:dk1>
      <a:srgbClr val="003399"/>
    </a:dk1>
    <a:lt1>
      <a:srgbClr val="FFFFFF"/>
    </a:lt1>
    <a:dk2>
      <a:srgbClr val="000000"/>
    </a:dk2>
    <a:lt2>
      <a:srgbClr val="BABABA"/>
    </a:lt2>
    <a:accent1>
      <a:srgbClr val="008BCA"/>
    </a:accent1>
    <a:accent2>
      <a:srgbClr val="FBB040"/>
    </a:accent2>
    <a:accent3>
      <a:srgbClr val="ED6737"/>
    </a:accent3>
    <a:accent4>
      <a:srgbClr val="A1C46B"/>
    </a:accent4>
    <a:accent5>
      <a:srgbClr val="008E94"/>
    </a:accent5>
    <a:accent6>
      <a:srgbClr val="281051"/>
    </a:accent6>
    <a:hlink>
      <a:srgbClr val="0000FF"/>
    </a:hlink>
    <a:folHlink>
      <a:srgbClr val="800080"/>
    </a:folHlink>
  </a:clrScheme>
  <a:fontScheme name="Kancelář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391</TotalTime>
  <Words>563</Words>
  <Application>Microsoft Office PowerPoint</Application>
  <PresentationFormat>Širokoúhlá obrazovka</PresentationFormat>
  <Paragraphs>111</Paragraphs>
  <Slides>12</Slides>
  <Notes>1</Notes>
  <HiddenSlides>0</HiddenSlides>
  <MMClips>0</MMClips>
  <ScaleCrop>false</ScaleCrop>
  <HeadingPairs>
    <vt:vector size="8" baseType="variant">
      <vt:variant>
        <vt:lpstr>Použitá písma</vt:lpstr>
      </vt:variant>
      <vt:variant>
        <vt:i4>5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12</vt:i4>
      </vt:variant>
    </vt:vector>
  </HeadingPairs>
  <TitlesOfParts>
    <vt:vector size="19" baseType="lpstr">
      <vt:lpstr>Arial</vt:lpstr>
      <vt:lpstr>Arial Black</vt:lpstr>
      <vt:lpstr>Bahnschrift Condensed</vt:lpstr>
      <vt:lpstr>Calibri</vt:lpstr>
      <vt:lpstr>Calibri Light</vt:lpstr>
      <vt:lpstr>Motiv Office</vt:lpstr>
      <vt:lpstr>think-cell Slide</vt:lpstr>
      <vt:lpstr>NOVÝ BODOVÝ SYSTÉM</vt:lpstr>
      <vt:lpstr>PŘEHLEDNĚJŠÍ SYSTÉM</vt:lpstr>
      <vt:lpstr>ŘÍZENÍ OD 17 LET</vt:lpstr>
      <vt:lpstr>Prezentace aplikace PowerPoint</vt:lpstr>
      <vt:lpstr>Prezentace aplikace PowerPoint</vt:lpstr>
      <vt:lpstr>Prezentace aplikace PowerPoint</vt:lpstr>
      <vt:lpstr>HARMONOGRAM</vt:lpstr>
      <vt:lpstr>Měření změn vnímání dopravní bezpečnosti</vt:lpstr>
      <vt:lpstr>DOPRAVNÍ PŘESTUPKY 1/2</vt:lpstr>
      <vt:lpstr>AUTOŠKOLA A ŘIDIČSKÝ PRŮKAZ</vt:lpstr>
      <vt:lpstr>Prezentace aplikace PowerPoint</vt:lpstr>
      <vt:lpstr>Prezentace aplikace PowerPoint</vt:lpstr>
    </vt:vector>
  </TitlesOfParts>
  <Company>M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ejsou body jako body</dc:title>
  <dc:creator>Lukašík Tomáš Ing.</dc:creator>
  <cp:lastModifiedBy>Lukašík Tomáš Ing.</cp:lastModifiedBy>
  <cp:revision>105</cp:revision>
  <dcterms:created xsi:type="dcterms:W3CDTF">2022-07-14T12:05:15Z</dcterms:created>
  <dcterms:modified xsi:type="dcterms:W3CDTF">2023-01-03T13:06:40Z</dcterms:modified>
</cp:coreProperties>
</file>